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9.xml" ContentType="application/vnd.openxmlformats-officedocument.presentationml.tags+xml"/>
  <Override PartName="/ppt/notesSlides/notesSlide4.xml" ContentType="application/vnd.openxmlformats-officedocument.presentationml.notesSlide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tags/tag11.xml" ContentType="application/vnd.openxmlformats-officedocument.presentationml.tags+xml"/>
  <Override PartName="/ppt/notesSlides/notesSlide6.xml" ContentType="application/vnd.openxmlformats-officedocument.presentationml.notesSlide+xml"/>
  <Override PartName="/ppt/tags/tag12.xml" ContentType="application/vnd.openxmlformats-officedocument.presentationml.tags+xml"/>
  <Override PartName="/ppt/notesSlides/notesSlide7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15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16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660" r:id="rId5"/>
    <p:sldMasterId id="2147483670" r:id="rId6"/>
  </p:sldMasterIdLst>
  <p:notesMasterIdLst>
    <p:notesMasterId r:id="rId22"/>
  </p:notesMasterIdLst>
  <p:sldIdLst>
    <p:sldId id="256" r:id="rId7"/>
    <p:sldId id="263" r:id="rId8"/>
    <p:sldId id="667" r:id="rId9"/>
    <p:sldId id="668" r:id="rId10"/>
    <p:sldId id="2147309171" r:id="rId11"/>
    <p:sldId id="663" r:id="rId12"/>
    <p:sldId id="2147309173" r:id="rId13"/>
    <p:sldId id="2147309172" r:id="rId14"/>
    <p:sldId id="2147309174" r:id="rId15"/>
    <p:sldId id="2147309176" r:id="rId16"/>
    <p:sldId id="669" r:id="rId17"/>
    <p:sldId id="2147309175" r:id="rId18"/>
    <p:sldId id="670" r:id="rId19"/>
    <p:sldId id="2147309177" r:id="rId20"/>
    <p:sldId id="671" r:id="rId21"/>
  </p:sldIdLst>
  <p:sldSz cx="9144000" cy="5143500" type="screen16x9"/>
  <p:notesSz cx="6797675" cy="9926638"/>
  <p:custDataLst>
    <p:tags r:id="rId23"/>
  </p:custDataLst>
  <p:defaultTextStyle>
    <a:defPPr>
      <a:defRPr lang="nb-NO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D3475"/>
    <a:srgbClr val="BBAC7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D5DC74A-EC24-43C8-8498-5DCB1F1CB25A}" v="88" dt="2022-05-11T08:52:35.178"/>
    <p1510:client id="{EA11524E-7630-4FC3-9C1E-16CF4FCF6003}" v="51" dt="2022-05-12T08:07:00.97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86599" autoAdjust="0"/>
  </p:normalViewPr>
  <p:slideViewPr>
    <p:cSldViewPr snapToGrid="0">
      <p:cViewPr varScale="1">
        <p:scale>
          <a:sx n="156" d="100"/>
          <a:sy n="156" d="100"/>
        </p:scale>
        <p:origin x="114" y="132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tags" Target="tags/tag1.xml"/><Relationship Id="rId28" Type="http://schemas.microsoft.com/office/2016/11/relationships/changesInfo" Target="changesInfos/changesInfo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ristin Kårøy Overvik" userId="S::kristo@ntnu.no::9f32c53a-86e1-4034-b7b9-1fcc4812f6dd" providerId="AD" clId="Web-{34DADC00-8B30-C3BE-E7D1-9CFB88FEC208}"/>
    <pc:docChg chg="modSld">
      <pc:chgData name="Kristin Kårøy Overvik" userId="S::kristo@ntnu.no::9f32c53a-86e1-4034-b7b9-1fcc4812f6dd" providerId="AD" clId="Web-{34DADC00-8B30-C3BE-E7D1-9CFB88FEC208}" dt="2022-05-10T06:23:35.033" v="34"/>
      <pc:docMkLst>
        <pc:docMk/>
      </pc:docMkLst>
      <pc:sldChg chg="modNotes">
        <pc:chgData name="Kristin Kårøy Overvik" userId="S::kristo@ntnu.no::9f32c53a-86e1-4034-b7b9-1fcc4812f6dd" providerId="AD" clId="Web-{34DADC00-8B30-C3BE-E7D1-9CFB88FEC208}" dt="2022-05-10T06:23:35.033" v="34"/>
        <pc:sldMkLst>
          <pc:docMk/>
          <pc:sldMk cId="1149540880" sldId="669"/>
        </pc:sldMkLst>
      </pc:sldChg>
    </pc:docChg>
  </pc:docChgLst>
  <pc:docChgLst>
    <pc:chgData name="Horvei, Christina" userId="cd24bc57-60b2-4e37-aa14-cf0aa018956c" providerId="ADAL" clId="{2D5DC74A-EC24-43C8-8498-5DCB1F1CB25A}"/>
    <pc:docChg chg="modSld">
      <pc:chgData name="Horvei, Christina" userId="cd24bc57-60b2-4e37-aa14-cf0aa018956c" providerId="ADAL" clId="{2D5DC74A-EC24-43C8-8498-5DCB1F1CB25A}" dt="2022-05-11T08:52:33.059" v="13" actId="20577"/>
      <pc:docMkLst>
        <pc:docMk/>
      </pc:docMkLst>
      <pc:sldChg chg="modNotesTx">
        <pc:chgData name="Horvei, Christina" userId="cd24bc57-60b2-4e37-aa14-cf0aa018956c" providerId="ADAL" clId="{2D5DC74A-EC24-43C8-8498-5DCB1F1CB25A}" dt="2022-05-11T08:51:48" v="0" actId="20577"/>
        <pc:sldMkLst>
          <pc:docMk/>
          <pc:sldMk cId="732540778" sldId="263"/>
        </pc:sldMkLst>
      </pc:sldChg>
      <pc:sldChg chg="modNotesTx">
        <pc:chgData name="Horvei, Christina" userId="cd24bc57-60b2-4e37-aa14-cf0aa018956c" providerId="ADAL" clId="{2D5DC74A-EC24-43C8-8498-5DCB1F1CB25A}" dt="2022-05-11T08:51:57.944" v="4" actId="20577"/>
        <pc:sldMkLst>
          <pc:docMk/>
          <pc:sldMk cId="4074298254" sldId="663"/>
        </pc:sldMkLst>
      </pc:sldChg>
      <pc:sldChg chg="modNotesTx">
        <pc:chgData name="Horvei, Christina" userId="cd24bc57-60b2-4e37-aa14-cf0aa018956c" providerId="ADAL" clId="{2D5DC74A-EC24-43C8-8498-5DCB1F1CB25A}" dt="2022-05-11T08:51:49.524" v="1" actId="20577"/>
        <pc:sldMkLst>
          <pc:docMk/>
          <pc:sldMk cId="534961697" sldId="667"/>
        </pc:sldMkLst>
      </pc:sldChg>
      <pc:sldChg chg="modNotesTx">
        <pc:chgData name="Horvei, Christina" userId="cd24bc57-60b2-4e37-aa14-cf0aa018956c" providerId="ADAL" clId="{2D5DC74A-EC24-43C8-8498-5DCB1F1CB25A}" dt="2022-05-11T08:51:51.638" v="2" actId="20577"/>
        <pc:sldMkLst>
          <pc:docMk/>
          <pc:sldMk cId="61708054" sldId="668"/>
        </pc:sldMkLst>
      </pc:sldChg>
      <pc:sldChg chg="modNotesTx">
        <pc:chgData name="Horvei, Christina" userId="cd24bc57-60b2-4e37-aa14-cf0aa018956c" providerId="ADAL" clId="{2D5DC74A-EC24-43C8-8498-5DCB1F1CB25A}" dt="2022-05-11T08:52:21.135" v="8" actId="20577"/>
        <pc:sldMkLst>
          <pc:docMk/>
          <pc:sldMk cId="1149540880" sldId="669"/>
        </pc:sldMkLst>
      </pc:sldChg>
      <pc:sldChg chg="modNotesTx">
        <pc:chgData name="Horvei, Christina" userId="cd24bc57-60b2-4e37-aa14-cf0aa018956c" providerId="ADAL" clId="{2D5DC74A-EC24-43C8-8498-5DCB1F1CB25A}" dt="2022-05-11T08:52:28.152" v="11" actId="20577"/>
        <pc:sldMkLst>
          <pc:docMk/>
          <pc:sldMk cId="134475592" sldId="670"/>
        </pc:sldMkLst>
      </pc:sldChg>
      <pc:sldChg chg="modNotesTx">
        <pc:chgData name="Horvei, Christina" userId="cd24bc57-60b2-4e37-aa14-cf0aa018956c" providerId="ADAL" clId="{2D5DC74A-EC24-43C8-8498-5DCB1F1CB25A}" dt="2022-05-11T08:52:33.059" v="13" actId="20577"/>
        <pc:sldMkLst>
          <pc:docMk/>
          <pc:sldMk cId="3301723376" sldId="671"/>
        </pc:sldMkLst>
      </pc:sldChg>
      <pc:sldChg chg="modNotesTx">
        <pc:chgData name="Horvei, Christina" userId="cd24bc57-60b2-4e37-aa14-cf0aa018956c" providerId="ADAL" clId="{2D5DC74A-EC24-43C8-8498-5DCB1F1CB25A}" dt="2022-05-11T08:51:54.986" v="3" actId="20577"/>
        <pc:sldMkLst>
          <pc:docMk/>
          <pc:sldMk cId="3875458243" sldId="2147309171"/>
        </pc:sldMkLst>
      </pc:sldChg>
      <pc:sldChg chg="modNotesTx">
        <pc:chgData name="Horvei, Christina" userId="cd24bc57-60b2-4e37-aa14-cf0aa018956c" providerId="ADAL" clId="{2D5DC74A-EC24-43C8-8498-5DCB1F1CB25A}" dt="2022-05-11T08:52:05.714" v="6" actId="20577"/>
        <pc:sldMkLst>
          <pc:docMk/>
          <pc:sldMk cId="1499748999" sldId="2147309172"/>
        </pc:sldMkLst>
      </pc:sldChg>
      <pc:sldChg chg="modNotesTx">
        <pc:chgData name="Horvei, Christina" userId="cd24bc57-60b2-4e37-aa14-cf0aa018956c" providerId="ADAL" clId="{2D5DC74A-EC24-43C8-8498-5DCB1F1CB25A}" dt="2022-05-11T08:52:02.133" v="5" actId="20577"/>
        <pc:sldMkLst>
          <pc:docMk/>
          <pc:sldMk cId="3440951814" sldId="2147309173"/>
        </pc:sldMkLst>
      </pc:sldChg>
      <pc:sldChg chg="modNotesTx">
        <pc:chgData name="Horvei, Christina" userId="cd24bc57-60b2-4e37-aa14-cf0aa018956c" providerId="ADAL" clId="{2D5DC74A-EC24-43C8-8498-5DCB1F1CB25A}" dt="2022-05-11T08:52:24.650" v="9" actId="20577"/>
        <pc:sldMkLst>
          <pc:docMk/>
          <pc:sldMk cId="225437982" sldId="2147309175"/>
        </pc:sldMkLst>
      </pc:sldChg>
      <pc:sldChg chg="modNotesTx">
        <pc:chgData name="Horvei, Christina" userId="cd24bc57-60b2-4e37-aa14-cf0aa018956c" providerId="ADAL" clId="{2D5DC74A-EC24-43C8-8498-5DCB1F1CB25A}" dt="2022-05-11T08:52:11.004" v="7" actId="20577"/>
        <pc:sldMkLst>
          <pc:docMk/>
          <pc:sldMk cId="1970137262" sldId="2147309176"/>
        </pc:sldMkLst>
      </pc:sldChg>
      <pc:sldChg chg="modNotesTx">
        <pc:chgData name="Horvei, Christina" userId="cd24bc57-60b2-4e37-aa14-cf0aa018956c" providerId="ADAL" clId="{2D5DC74A-EC24-43C8-8498-5DCB1F1CB25A}" dt="2022-05-11T08:52:30.495" v="12" actId="20577"/>
        <pc:sldMkLst>
          <pc:docMk/>
          <pc:sldMk cId="4172570166" sldId="2147309177"/>
        </pc:sldMkLst>
      </pc:sldChg>
    </pc:docChg>
  </pc:docChgLst>
  <pc:docChgLst>
    <pc:chgData name="Kristin Kårøy Overvik" userId="S::kristo@ntnu.no::9f32c53a-86e1-4034-b7b9-1fcc4812f6dd" providerId="AD" clId="Web-{6A753A28-EE76-A39A-441A-B934F1467E79}"/>
    <pc:docChg chg="modSld">
      <pc:chgData name="Kristin Kårøy Overvik" userId="S::kristo@ntnu.no::9f32c53a-86e1-4034-b7b9-1fcc4812f6dd" providerId="AD" clId="Web-{6A753A28-EE76-A39A-441A-B934F1467E79}" dt="2022-05-10T06:17:01.977" v="1788"/>
      <pc:docMkLst>
        <pc:docMk/>
      </pc:docMkLst>
      <pc:sldChg chg="modNotes">
        <pc:chgData name="Kristin Kårøy Overvik" userId="S::kristo@ntnu.no::9f32c53a-86e1-4034-b7b9-1fcc4812f6dd" providerId="AD" clId="Web-{6A753A28-EE76-A39A-441A-B934F1467E79}" dt="2022-05-10T05:35:14.722" v="44"/>
        <pc:sldMkLst>
          <pc:docMk/>
          <pc:sldMk cId="1149540880" sldId="669"/>
        </pc:sldMkLst>
      </pc:sldChg>
      <pc:sldChg chg="modNotes">
        <pc:chgData name="Kristin Kårøy Overvik" userId="S::kristo@ntnu.no::9f32c53a-86e1-4034-b7b9-1fcc4812f6dd" providerId="AD" clId="Web-{6A753A28-EE76-A39A-441A-B934F1467E79}" dt="2022-05-10T06:17:01.977" v="1788"/>
        <pc:sldMkLst>
          <pc:docMk/>
          <pc:sldMk cId="225437982" sldId="2147309175"/>
        </pc:sldMkLst>
      </pc:sldChg>
      <pc:sldChg chg="modNotes">
        <pc:chgData name="Kristin Kårøy Overvik" userId="S::kristo@ntnu.no::9f32c53a-86e1-4034-b7b9-1fcc4812f6dd" providerId="AD" clId="Web-{6A753A28-EE76-A39A-441A-B934F1467E79}" dt="2022-05-10T05:53:21.751" v="751"/>
        <pc:sldMkLst>
          <pc:docMk/>
          <pc:sldMk cId="1970137262" sldId="2147309176"/>
        </pc:sldMkLst>
      </pc:sldChg>
    </pc:docChg>
  </pc:docChgLst>
  <pc:docChgLst>
    <pc:chgData name="Kristin Kårøy Overvik" userId="S::kristo@ntnu.no::9f32c53a-86e1-4034-b7b9-1fcc4812f6dd" providerId="AD" clId="Web-{76797901-58E2-1254-A66D-5B03C3C8E8A5}"/>
    <pc:docChg chg="modSld">
      <pc:chgData name="Kristin Kårøy Overvik" userId="S::kristo@ntnu.no::9f32c53a-86e1-4034-b7b9-1fcc4812f6dd" providerId="AD" clId="Web-{76797901-58E2-1254-A66D-5B03C3C8E8A5}" dt="2022-05-09T13:46:44.173" v="66" actId="20577"/>
      <pc:docMkLst>
        <pc:docMk/>
      </pc:docMkLst>
      <pc:sldChg chg="modSp">
        <pc:chgData name="Kristin Kårøy Overvik" userId="S::kristo@ntnu.no::9f32c53a-86e1-4034-b7b9-1fcc4812f6dd" providerId="AD" clId="Web-{76797901-58E2-1254-A66D-5B03C3C8E8A5}" dt="2022-05-09T13:46:44.173" v="66" actId="20577"/>
        <pc:sldMkLst>
          <pc:docMk/>
          <pc:sldMk cId="1970137262" sldId="2147309176"/>
        </pc:sldMkLst>
        <pc:spChg chg="mod">
          <ac:chgData name="Kristin Kårøy Overvik" userId="S::kristo@ntnu.no::9f32c53a-86e1-4034-b7b9-1fcc4812f6dd" providerId="AD" clId="Web-{76797901-58E2-1254-A66D-5B03C3C8E8A5}" dt="2022-05-09T13:46:44.173" v="66" actId="20577"/>
          <ac:spMkLst>
            <pc:docMk/>
            <pc:sldMk cId="1970137262" sldId="2147309176"/>
            <ac:spMk id="16" creationId="{5F42E835-B156-43EF-808A-BB7936EC11EC}"/>
          </ac:spMkLst>
        </pc:spChg>
      </pc:sldChg>
    </pc:docChg>
  </pc:docChgLst>
  <pc:docChgLst>
    <pc:chgData name="Horvei, Christina" userId="cd24bc57-60b2-4e37-aa14-cf0aa018956c" providerId="ADAL" clId="{913F0EFD-FE20-4191-80FE-C7DDCA3330BF}"/>
    <pc:docChg chg="custSel addSld delSld modSld sldOrd">
      <pc:chgData name="Horvei, Christina" userId="cd24bc57-60b2-4e37-aa14-cf0aa018956c" providerId="ADAL" clId="{913F0EFD-FE20-4191-80FE-C7DDCA3330BF}" dt="2022-05-10T08:25:21.975" v="982"/>
      <pc:docMkLst>
        <pc:docMk/>
      </pc:docMkLst>
      <pc:sldChg chg="addSp delSp modSp mod">
        <pc:chgData name="Horvei, Christina" userId="cd24bc57-60b2-4e37-aa14-cf0aa018956c" providerId="ADAL" clId="{913F0EFD-FE20-4191-80FE-C7DDCA3330BF}" dt="2022-05-09T12:35:21.510" v="295"/>
        <pc:sldMkLst>
          <pc:docMk/>
          <pc:sldMk cId="3243102052" sldId="256"/>
        </pc:sldMkLst>
        <pc:spChg chg="mod">
          <ac:chgData name="Horvei, Christina" userId="cd24bc57-60b2-4e37-aa14-cf0aa018956c" providerId="ADAL" clId="{913F0EFD-FE20-4191-80FE-C7DDCA3330BF}" dt="2022-05-09T12:35:21.472" v="254" actId="948"/>
          <ac:spMkLst>
            <pc:docMk/>
            <pc:sldMk cId="3243102052" sldId="256"/>
            <ac:spMk id="2" creationId="{00000000-0000-0000-0000-000000000000}"/>
          </ac:spMkLst>
        </pc:spChg>
        <pc:spChg chg="add del mod modVis">
          <ac:chgData name="Horvei, Christina" userId="cd24bc57-60b2-4e37-aa14-cf0aa018956c" providerId="ADAL" clId="{913F0EFD-FE20-4191-80FE-C7DDCA3330BF}" dt="2022-05-09T12:35:21.507" v="293"/>
          <ac:spMkLst>
            <pc:docMk/>
            <pc:sldMk cId="3243102052" sldId="256"/>
            <ac:spMk id="5" creationId="{EC259957-0B54-48D4-B682-D57E3FC31C7E}"/>
          </ac:spMkLst>
        </pc:spChg>
        <pc:graphicFrameChg chg="mod">
          <ac:chgData name="Horvei, Christina" userId="cd24bc57-60b2-4e37-aa14-cf0aa018956c" providerId="ADAL" clId="{913F0EFD-FE20-4191-80FE-C7DDCA3330BF}" dt="2022-05-09T12:35:21.510" v="295"/>
          <ac:graphicFrameMkLst>
            <pc:docMk/>
            <pc:sldMk cId="3243102052" sldId="256"/>
            <ac:graphicFrameMk id="4" creationId="{C376B983-217F-4B58-A01A-5B88DF36409F}"/>
          </ac:graphicFrameMkLst>
        </pc:graphicFrameChg>
      </pc:sldChg>
      <pc:sldChg chg="modNotesTx">
        <pc:chgData name="Horvei, Christina" userId="cd24bc57-60b2-4e37-aa14-cf0aa018956c" providerId="ADAL" clId="{913F0EFD-FE20-4191-80FE-C7DDCA3330BF}" dt="2022-05-09T12:44:02.040" v="327" actId="20577"/>
        <pc:sldMkLst>
          <pc:docMk/>
          <pc:sldMk cId="732540778" sldId="263"/>
        </pc:sldMkLst>
      </pc:sldChg>
      <pc:sldChg chg="del">
        <pc:chgData name="Horvei, Christina" userId="cd24bc57-60b2-4e37-aa14-cf0aa018956c" providerId="ADAL" clId="{913F0EFD-FE20-4191-80FE-C7DDCA3330BF}" dt="2022-05-09T12:09:44.291" v="8" actId="47"/>
        <pc:sldMkLst>
          <pc:docMk/>
          <pc:sldMk cId="437807003" sldId="264"/>
        </pc:sldMkLst>
      </pc:sldChg>
      <pc:sldChg chg="addSp delSp modSp mod ord modNotesTx">
        <pc:chgData name="Horvei, Christina" userId="cd24bc57-60b2-4e37-aa14-cf0aa018956c" providerId="ADAL" clId="{913F0EFD-FE20-4191-80FE-C7DDCA3330BF}" dt="2022-05-10T08:25:21.975" v="982"/>
        <pc:sldMkLst>
          <pc:docMk/>
          <pc:sldMk cId="534961697" sldId="667"/>
        </pc:sldMkLst>
        <pc:picChg chg="mod">
          <ac:chgData name="Horvei, Christina" userId="cd24bc57-60b2-4e37-aa14-cf0aa018956c" providerId="ADAL" clId="{913F0EFD-FE20-4191-80FE-C7DDCA3330BF}" dt="2022-05-09T14:47:07.222" v="561" actId="1076"/>
          <ac:picMkLst>
            <pc:docMk/>
            <pc:sldMk cId="534961697" sldId="667"/>
            <ac:picMk id="4" creationId="{E1926C42-1E95-42F2-92E2-23C6EC6ECC55}"/>
          </ac:picMkLst>
        </pc:picChg>
        <pc:picChg chg="add del mod">
          <ac:chgData name="Horvei, Christina" userId="cd24bc57-60b2-4e37-aa14-cf0aa018956c" providerId="ADAL" clId="{913F0EFD-FE20-4191-80FE-C7DDCA3330BF}" dt="2022-05-09T14:47:25.393" v="569" actId="478"/>
          <ac:picMkLst>
            <pc:docMk/>
            <pc:sldMk cId="534961697" sldId="667"/>
            <ac:picMk id="5" creationId="{0B81F6DE-1FFE-476E-8FA9-768D7F80474A}"/>
          </ac:picMkLst>
        </pc:picChg>
        <pc:picChg chg="add mod modCrop">
          <ac:chgData name="Horvei, Christina" userId="cd24bc57-60b2-4e37-aa14-cf0aa018956c" providerId="ADAL" clId="{913F0EFD-FE20-4191-80FE-C7DDCA3330BF}" dt="2022-05-09T14:47:54.749" v="575" actId="1076"/>
          <ac:picMkLst>
            <pc:docMk/>
            <pc:sldMk cId="534961697" sldId="667"/>
            <ac:picMk id="8" creationId="{A4E14158-7A29-4054-888A-CAE64B20946A}"/>
          </ac:picMkLst>
        </pc:picChg>
      </pc:sldChg>
      <pc:sldChg chg="modNotesTx">
        <pc:chgData name="Horvei, Christina" userId="cd24bc57-60b2-4e37-aa14-cf0aa018956c" providerId="ADAL" clId="{913F0EFD-FE20-4191-80FE-C7DDCA3330BF}" dt="2022-05-09T20:58:04.070" v="863" actId="313"/>
        <pc:sldMkLst>
          <pc:docMk/>
          <pc:sldMk cId="61708054" sldId="668"/>
        </pc:sldMkLst>
      </pc:sldChg>
      <pc:sldChg chg="modNotesTx">
        <pc:chgData name="Horvei, Christina" userId="cd24bc57-60b2-4e37-aa14-cf0aa018956c" providerId="ADAL" clId="{913F0EFD-FE20-4191-80FE-C7DDCA3330BF}" dt="2022-05-09T12:44:58.080" v="432" actId="20577"/>
        <pc:sldMkLst>
          <pc:docMk/>
          <pc:sldMk cId="1149540880" sldId="669"/>
        </pc:sldMkLst>
      </pc:sldChg>
      <pc:sldChg chg="modNotesTx">
        <pc:chgData name="Horvei, Christina" userId="cd24bc57-60b2-4e37-aa14-cf0aa018956c" providerId="ADAL" clId="{913F0EFD-FE20-4191-80FE-C7DDCA3330BF}" dt="2022-05-09T20:45:34.965" v="590" actId="20577"/>
        <pc:sldMkLst>
          <pc:docMk/>
          <pc:sldMk cId="3875458243" sldId="2147309171"/>
        </pc:sldMkLst>
      </pc:sldChg>
      <pc:sldChg chg="modSp mod">
        <pc:chgData name="Horvei, Christina" userId="cd24bc57-60b2-4e37-aa14-cf0aa018956c" providerId="ADAL" clId="{913F0EFD-FE20-4191-80FE-C7DDCA3330BF}" dt="2022-05-09T21:07:33.239" v="972" actId="1035"/>
        <pc:sldMkLst>
          <pc:docMk/>
          <pc:sldMk cId="1499748999" sldId="2147309172"/>
        </pc:sldMkLst>
        <pc:spChg chg="mod">
          <ac:chgData name="Horvei, Christina" userId="cd24bc57-60b2-4e37-aa14-cf0aa018956c" providerId="ADAL" clId="{913F0EFD-FE20-4191-80FE-C7DDCA3330BF}" dt="2022-05-09T21:07:33.239" v="972" actId="1035"/>
          <ac:spMkLst>
            <pc:docMk/>
            <pc:sldMk cId="1499748999" sldId="2147309172"/>
            <ac:spMk id="9" creationId="{C8F1AF45-88CD-443E-9DEA-CF87C97B64C7}"/>
          </ac:spMkLst>
        </pc:spChg>
        <pc:spChg chg="mod">
          <ac:chgData name="Horvei, Christina" userId="cd24bc57-60b2-4e37-aa14-cf0aa018956c" providerId="ADAL" clId="{913F0EFD-FE20-4191-80FE-C7DDCA3330BF}" dt="2022-05-09T21:07:33.239" v="972" actId="1035"/>
          <ac:spMkLst>
            <pc:docMk/>
            <pc:sldMk cId="1499748999" sldId="2147309172"/>
            <ac:spMk id="10" creationId="{D58DA560-7E34-44DB-84E7-F276C28ED0E5}"/>
          </ac:spMkLst>
        </pc:spChg>
        <pc:spChg chg="mod">
          <ac:chgData name="Horvei, Christina" userId="cd24bc57-60b2-4e37-aa14-cf0aa018956c" providerId="ADAL" clId="{913F0EFD-FE20-4191-80FE-C7DDCA3330BF}" dt="2022-05-09T21:07:33.239" v="972" actId="1035"/>
          <ac:spMkLst>
            <pc:docMk/>
            <pc:sldMk cId="1499748999" sldId="2147309172"/>
            <ac:spMk id="13" creationId="{9B3E1D7F-F412-4008-9545-AE870ABE068F}"/>
          </ac:spMkLst>
        </pc:spChg>
        <pc:spChg chg="mod">
          <ac:chgData name="Horvei, Christina" userId="cd24bc57-60b2-4e37-aa14-cf0aa018956c" providerId="ADAL" clId="{913F0EFD-FE20-4191-80FE-C7DDCA3330BF}" dt="2022-05-09T21:07:33.239" v="972" actId="1035"/>
          <ac:spMkLst>
            <pc:docMk/>
            <pc:sldMk cId="1499748999" sldId="2147309172"/>
            <ac:spMk id="14" creationId="{2A989A70-F8B5-4775-8014-353E99E7A438}"/>
          </ac:spMkLst>
        </pc:spChg>
        <pc:spChg chg="mod">
          <ac:chgData name="Horvei, Christina" userId="cd24bc57-60b2-4e37-aa14-cf0aa018956c" providerId="ADAL" clId="{913F0EFD-FE20-4191-80FE-C7DDCA3330BF}" dt="2022-05-09T21:07:33.239" v="972" actId="1035"/>
          <ac:spMkLst>
            <pc:docMk/>
            <pc:sldMk cId="1499748999" sldId="2147309172"/>
            <ac:spMk id="15" creationId="{AF030378-83F5-4491-B023-BE93771547B9}"/>
          </ac:spMkLst>
        </pc:spChg>
        <pc:spChg chg="mod">
          <ac:chgData name="Horvei, Christina" userId="cd24bc57-60b2-4e37-aa14-cf0aa018956c" providerId="ADAL" clId="{913F0EFD-FE20-4191-80FE-C7DDCA3330BF}" dt="2022-05-09T21:07:33.239" v="972" actId="1035"/>
          <ac:spMkLst>
            <pc:docMk/>
            <pc:sldMk cId="1499748999" sldId="2147309172"/>
            <ac:spMk id="16" creationId="{B2EEC503-D87C-42A2-B0CC-0E156A6BC24E}"/>
          </ac:spMkLst>
        </pc:spChg>
        <pc:spChg chg="mod">
          <ac:chgData name="Horvei, Christina" userId="cd24bc57-60b2-4e37-aa14-cf0aa018956c" providerId="ADAL" clId="{913F0EFD-FE20-4191-80FE-C7DDCA3330BF}" dt="2022-05-09T21:07:33.239" v="972" actId="1035"/>
          <ac:spMkLst>
            <pc:docMk/>
            <pc:sldMk cId="1499748999" sldId="2147309172"/>
            <ac:spMk id="18" creationId="{5330D4AD-DCBC-474A-9AF8-2DF87ACB9A34}"/>
          </ac:spMkLst>
        </pc:spChg>
        <pc:spChg chg="mod">
          <ac:chgData name="Horvei, Christina" userId="cd24bc57-60b2-4e37-aa14-cf0aa018956c" providerId="ADAL" clId="{913F0EFD-FE20-4191-80FE-C7DDCA3330BF}" dt="2022-05-09T21:07:33.239" v="972" actId="1035"/>
          <ac:spMkLst>
            <pc:docMk/>
            <pc:sldMk cId="1499748999" sldId="2147309172"/>
            <ac:spMk id="19" creationId="{0CCD1469-E680-414E-B7C4-30341926281B}"/>
          </ac:spMkLst>
        </pc:spChg>
        <pc:spChg chg="mod">
          <ac:chgData name="Horvei, Christina" userId="cd24bc57-60b2-4e37-aa14-cf0aa018956c" providerId="ADAL" clId="{913F0EFD-FE20-4191-80FE-C7DDCA3330BF}" dt="2022-05-09T21:07:33.239" v="972" actId="1035"/>
          <ac:spMkLst>
            <pc:docMk/>
            <pc:sldMk cId="1499748999" sldId="2147309172"/>
            <ac:spMk id="20" creationId="{A8BF1728-D979-4022-9953-3DCECA5890E2}"/>
          </ac:spMkLst>
        </pc:spChg>
        <pc:spChg chg="mod">
          <ac:chgData name="Horvei, Christina" userId="cd24bc57-60b2-4e37-aa14-cf0aa018956c" providerId="ADAL" clId="{913F0EFD-FE20-4191-80FE-C7DDCA3330BF}" dt="2022-05-09T21:07:33.239" v="972" actId="1035"/>
          <ac:spMkLst>
            <pc:docMk/>
            <pc:sldMk cId="1499748999" sldId="2147309172"/>
            <ac:spMk id="21" creationId="{7FA1C302-102A-47F5-A390-1C7BCA78D7A6}"/>
          </ac:spMkLst>
        </pc:spChg>
        <pc:spChg chg="mod">
          <ac:chgData name="Horvei, Christina" userId="cd24bc57-60b2-4e37-aa14-cf0aa018956c" providerId="ADAL" clId="{913F0EFD-FE20-4191-80FE-C7DDCA3330BF}" dt="2022-05-09T21:07:33.239" v="972" actId="1035"/>
          <ac:spMkLst>
            <pc:docMk/>
            <pc:sldMk cId="1499748999" sldId="2147309172"/>
            <ac:spMk id="23" creationId="{7BA73519-AF16-46D2-B536-47B6CB5C43F2}"/>
          </ac:spMkLst>
        </pc:spChg>
        <pc:spChg chg="mod">
          <ac:chgData name="Horvei, Christina" userId="cd24bc57-60b2-4e37-aa14-cf0aa018956c" providerId="ADAL" clId="{913F0EFD-FE20-4191-80FE-C7DDCA3330BF}" dt="2022-05-09T21:07:33.239" v="972" actId="1035"/>
          <ac:spMkLst>
            <pc:docMk/>
            <pc:sldMk cId="1499748999" sldId="2147309172"/>
            <ac:spMk id="24" creationId="{B5BEEF05-5809-4D4A-9EEC-B26799C508D7}"/>
          </ac:spMkLst>
        </pc:spChg>
        <pc:spChg chg="mod">
          <ac:chgData name="Horvei, Christina" userId="cd24bc57-60b2-4e37-aa14-cf0aa018956c" providerId="ADAL" clId="{913F0EFD-FE20-4191-80FE-C7DDCA3330BF}" dt="2022-05-09T21:07:33.239" v="972" actId="1035"/>
          <ac:spMkLst>
            <pc:docMk/>
            <pc:sldMk cId="1499748999" sldId="2147309172"/>
            <ac:spMk id="25" creationId="{668B59D2-01C8-478E-9DBC-4745A455120B}"/>
          </ac:spMkLst>
        </pc:spChg>
        <pc:spChg chg="mod">
          <ac:chgData name="Horvei, Christina" userId="cd24bc57-60b2-4e37-aa14-cf0aa018956c" providerId="ADAL" clId="{913F0EFD-FE20-4191-80FE-C7DDCA3330BF}" dt="2022-05-09T21:07:33.239" v="972" actId="1035"/>
          <ac:spMkLst>
            <pc:docMk/>
            <pc:sldMk cId="1499748999" sldId="2147309172"/>
            <ac:spMk id="26" creationId="{4DBB2AC9-6D28-4388-A9A5-EE08E7F0C3A1}"/>
          </ac:spMkLst>
        </pc:spChg>
        <pc:spChg chg="mod">
          <ac:chgData name="Horvei, Christina" userId="cd24bc57-60b2-4e37-aa14-cf0aa018956c" providerId="ADAL" clId="{913F0EFD-FE20-4191-80FE-C7DDCA3330BF}" dt="2022-05-09T21:07:33.239" v="972" actId="1035"/>
          <ac:spMkLst>
            <pc:docMk/>
            <pc:sldMk cId="1499748999" sldId="2147309172"/>
            <ac:spMk id="28" creationId="{1D02E8AB-996E-47F7-AAFD-15799EC911AB}"/>
          </ac:spMkLst>
        </pc:spChg>
        <pc:spChg chg="mod">
          <ac:chgData name="Horvei, Christina" userId="cd24bc57-60b2-4e37-aa14-cf0aa018956c" providerId="ADAL" clId="{913F0EFD-FE20-4191-80FE-C7DDCA3330BF}" dt="2022-05-09T21:07:33.239" v="972" actId="1035"/>
          <ac:spMkLst>
            <pc:docMk/>
            <pc:sldMk cId="1499748999" sldId="2147309172"/>
            <ac:spMk id="29" creationId="{4037DC2D-0845-48E7-AB4D-25602FBF0A97}"/>
          </ac:spMkLst>
        </pc:spChg>
        <pc:spChg chg="mod">
          <ac:chgData name="Horvei, Christina" userId="cd24bc57-60b2-4e37-aa14-cf0aa018956c" providerId="ADAL" clId="{913F0EFD-FE20-4191-80FE-C7DDCA3330BF}" dt="2022-05-09T21:07:33.239" v="972" actId="1035"/>
          <ac:spMkLst>
            <pc:docMk/>
            <pc:sldMk cId="1499748999" sldId="2147309172"/>
            <ac:spMk id="31" creationId="{1AF27EB5-F9C2-4A61-91A0-C8D6D7E8C465}"/>
          </ac:spMkLst>
        </pc:spChg>
        <pc:spChg chg="mod">
          <ac:chgData name="Horvei, Christina" userId="cd24bc57-60b2-4e37-aa14-cf0aa018956c" providerId="ADAL" clId="{913F0EFD-FE20-4191-80FE-C7DDCA3330BF}" dt="2022-05-09T21:07:33.239" v="972" actId="1035"/>
          <ac:spMkLst>
            <pc:docMk/>
            <pc:sldMk cId="1499748999" sldId="2147309172"/>
            <ac:spMk id="32" creationId="{761C3646-9CAC-46D2-8CCF-9ED0351A70D8}"/>
          </ac:spMkLst>
        </pc:spChg>
        <pc:spChg chg="mod">
          <ac:chgData name="Horvei, Christina" userId="cd24bc57-60b2-4e37-aa14-cf0aa018956c" providerId="ADAL" clId="{913F0EFD-FE20-4191-80FE-C7DDCA3330BF}" dt="2022-05-09T21:07:33.239" v="972" actId="1035"/>
          <ac:spMkLst>
            <pc:docMk/>
            <pc:sldMk cId="1499748999" sldId="2147309172"/>
            <ac:spMk id="33" creationId="{56F7333C-238E-4671-802A-5640AF848B00}"/>
          </ac:spMkLst>
        </pc:spChg>
        <pc:spChg chg="mod">
          <ac:chgData name="Horvei, Christina" userId="cd24bc57-60b2-4e37-aa14-cf0aa018956c" providerId="ADAL" clId="{913F0EFD-FE20-4191-80FE-C7DDCA3330BF}" dt="2022-05-09T21:07:33.239" v="972" actId="1035"/>
          <ac:spMkLst>
            <pc:docMk/>
            <pc:sldMk cId="1499748999" sldId="2147309172"/>
            <ac:spMk id="35" creationId="{BD592B38-5313-4DC1-9F71-923A378A81C2}"/>
          </ac:spMkLst>
        </pc:spChg>
        <pc:spChg chg="mod">
          <ac:chgData name="Horvei, Christina" userId="cd24bc57-60b2-4e37-aa14-cf0aa018956c" providerId="ADAL" clId="{913F0EFD-FE20-4191-80FE-C7DDCA3330BF}" dt="2022-05-09T21:07:33.239" v="972" actId="1035"/>
          <ac:spMkLst>
            <pc:docMk/>
            <pc:sldMk cId="1499748999" sldId="2147309172"/>
            <ac:spMk id="36" creationId="{D25D4D2A-1104-4A77-B9CF-24FC5A081999}"/>
          </ac:spMkLst>
        </pc:spChg>
        <pc:spChg chg="mod">
          <ac:chgData name="Horvei, Christina" userId="cd24bc57-60b2-4e37-aa14-cf0aa018956c" providerId="ADAL" clId="{913F0EFD-FE20-4191-80FE-C7DDCA3330BF}" dt="2022-05-09T21:07:33.239" v="972" actId="1035"/>
          <ac:spMkLst>
            <pc:docMk/>
            <pc:sldMk cId="1499748999" sldId="2147309172"/>
            <ac:spMk id="37" creationId="{F2793948-3991-4FE8-97B6-94A7AA4CF033}"/>
          </ac:spMkLst>
        </pc:spChg>
        <pc:spChg chg="mod">
          <ac:chgData name="Horvei, Christina" userId="cd24bc57-60b2-4e37-aa14-cf0aa018956c" providerId="ADAL" clId="{913F0EFD-FE20-4191-80FE-C7DDCA3330BF}" dt="2022-05-09T21:07:33.239" v="972" actId="1035"/>
          <ac:spMkLst>
            <pc:docMk/>
            <pc:sldMk cId="1499748999" sldId="2147309172"/>
            <ac:spMk id="38" creationId="{1BA81406-C0A7-4C19-8A2F-6C5C708D7D52}"/>
          </ac:spMkLst>
        </pc:spChg>
        <pc:spChg chg="mod">
          <ac:chgData name="Horvei, Christina" userId="cd24bc57-60b2-4e37-aa14-cf0aa018956c" providerId="ADAL" clId="{913F0EFD-FE20-4191-80FE-C7DDCA3330BF}" dt="2022-05-09T21:07:33.239" v="972" actId="1035"/>
          <ac:spMkLst>
            <pc:docMk/>
            <pc:sldMk cId="1499748999" sldId="2147309172"/>
            <ac:spMk id="39" creationId="{8EA1352C-4C7C-43E3-A981-8244758C8778}"/>
          </ac:spMkLst>
        </pc:spChg>
        <pc:spChg chg="mod">
          <ac:chgData name="Horvei, Christina" userId="cd24bc57-60b2-4e37-aa14-cf0aa018956c" providerId="ADAL" clId="{913F0EFD-FE20-4191-80FE-C7DDCA3330BF}" dt="2022-05-09T21:07:33.239" v="972" actId="1035"/>
          <ac:spMkLst>
            <pc:docMk/>
            <pc:sldMk cId="1499748999" sldId="2147309172"/>
            <ac:spMk id="41" creationId="{56936B04-848D-44A7-A90D-61DE09649593}"/>
          </ac:spMkLst>
        </pc:spChg>
        <pc:spChg chg="mod">
          <ac:chgData name="Horvei, Christina" userId="cd24bc57-60b2-4e37-aa14-cf0aa018956c" providerId="ADAL" clId="{913F0EFD-FE20-4191-80FE-C7DDCA3330BF}" dt="2022-05-09T21:07:33.239" v="972" actId="1035"/>
          <ac:spMkLst>
            <pc:docMk/>
            <pc:sldMk cId="1499748999" sldId="2147309172"/>
            <ac:spMk id="42" creationId="{0899BD54-F8CB-43A0-86E6-42622584F09E}"/>
          </ac:spMkLst>
        </pc:spChg>
        <pc:spChg chg="mod">
          <ac:chgData name="Horvei, Christina" userId="cd24bc57-60b2-4e37-aa14-cf0aa018956c" providerId="ADAL" clId="{913F0EFD-FE20-4191-80FE-C7DDCA3330BF}" dt="2022-05-09T21:07:33.239" v="972" actId="1035"/>
          <ac:spMkLst>
            <pc:docMk/>
            <pc:sldMk cId="1499748999" sldId="2147309172"/>
            <ac:spMk id="43" creationId="{B8B9A667-C6ED-4A8A-A75D-9F9684BD7D88}"/>
          </ac:spMkLst>
        </pc:spChg>
        <pc:spChg chg="mod">
          <ac:chgData name="Horvei, Christina" userId="cd24bc57-60b2-4e37-aa14-cf0aa018956c" providerId="ADAL" clId="{913F0EFD-FE20-4191-80FE-C7DDCA3330BF}" dt="2022-05-09T21:07:33.239" v="972" actId="1035"/>
          <ac:spMkLst>
            <pc:docMk/>
            <pc:sldMk cId="1499748999" sldId="2147309172"/>
            <ac:spMk id="44" creationId="{4CB23EA2-8F84-4E0A-8A7C-158DD3EFC357}"/>
          </ac:spMkLst>
        </pc:spChg>
        <pc:spChg chg="mod">
          <ac:chgData name="Horvei, Christina" userId="cd24bc57-60b2-4e37-aa14-cf0aa018956c" providerId="ADAL" clId="{913F0EFD-FE20-4191-80FE-C7DDCA3330BF}" dt="2022-05-09T21:07:33.239" v="972" actId="1035"/>
          <ac:spMkLst>
            <pc:docMk/>
            <pc:sldMk cId="1499748999" sldId="2147309172"/>
            <ac:spMk id="45" creationId="{D501F192-7993-4FC2-8B08-58066ECBFC91}"/>
          </ac:spMkLst>
        </pc:spChg>
        <pc:spChg chg="mod">
          <ac:chgData name="Horvei, Christina" userId="cd24bc57-60b2-4e37-aa14-cf0aa018956c" providerId="ADAL" clId="{913F0EFD-FE20-4191-80FE-C7DDCA3330BF}" dt="2022-05-09T21:07:33.239" v="972" actId="1035"/>
          <ac:spMkLst>
            <pc:docMk/>
            <pc:sldMk cId="1499748999" sldId="2147309172"/>
            <ac:spMk id="46" creationId="{590ACCD0-44AA-448B-9CAA-5A5F105F43A0}"/>
          </ac:spMkLst>
        </pc:spChg>
        <pc:spChg chg="mod">
          <ac:chgData name="Horvei, Christina" userId="cd24bc57-60b2-4e37-aa14-cf0aa018956c" providerId="ADAL" clId="{913F0EFD-FE20-4191-80FE-C7DDCA3330BF}" dt="2022-05-09T21:07:33.239" v="972" actId="1035"/>
          <ac:spMkLst>
            <pc:docMk/>
            <pc:sldMk cId="1499748999" sldId="2147309172"/>
            <ac:spMk id="47" creationId="{9429B3B8-6AC8-415B-B42D-7045E0216DA6}"/>
          </ac:spMkLst>
        </pc:spChg>
        <pc:spChg chg="mod">
          <ac:chgData name="Horvei, Christina" userId="cd24bc57-60b2-4e37-aa14-cf0aa018956c" providerId="ADAL" clId="{913F0EFD-FE20-4191-80FE-C7DDCA3330BF}" dt="2022-05-09T21:07:33.239" v="972" actId="1035"/>
          <ac:spMkLst>
            <pc:docMk/>
            <pc:sldMk cId="1499748999" sldId="2147309172"/>
            <ac:spMk id="48" creationId="{8C16D7B1-BDFB-4DD5-941C-97DE3DDBE1EA}"/>
          </ac:spMkLst>
        </pc:spChg>
        <pc:spChg chg="mod">
          <ac:chgData name="Horvei, Christina" userId="cd24bc57-60b2-4e37-aa14-cf0aa018956c" providerId="ADAL" clId="{913F0EFD-FE20-4191-80FE-C7DDCA3330BF}" dt="2022-05-09T21:07:33.239" v="972" actId="1035"/>
          <ac:spMkLst>
            <pc:docMk/>
            <pc:sldMk cId="1499748999" sldId="2147309172"/>
            <ac:spMk id="49" creationId="{65B23D8B-79FA-4A6C-8F64-3687403E7966}"/>
          </ac:spMkLst>
        </pc:spChg>
        <pc:spChg chg="mod">
          <ac:chgData name="Horvei, Christina" userId="cd24bc57-60b2-4e37-aa14-cf0aa018956c" providerId="ADAL" clId="{913F0EFD-FE20-4191-80FE-C7DDCA3330BF}" dt="2022-05-09T21:07:33.239" v="972" actId="1035"/>
          <ac:spMkLst>
            <pc:docMk/>
            <pc:sldMk cId="1499748999" sldId="2147309172"/>
            <ac:spMk id="50" creationId="{23B572A4-7DCB-4EDC-8F47-5E10B70D2F11}"/>
          </ac:spMkLst>
        </pc:spChg>
        <pc:spChg chg="mod">
          <ac:chgData name="Horvei, Christina" userId="cd24bc57-60b2-4e37-aa14-cf0aa018956c" providerId="ADAL" clId="{913F0EFD-FE20-4191-80FE-C7DDCA3330BF}" dt="2022-05-09T21:07:33.239" v="972" actId="1035"/>
          <ac:spMkLst>
            <pc:docMk/>
            <pc:sldMk cId="1499748999" sldId="2147309172"/>
            <ac:spMk id="51" creationId="{1C32FC2F-0FD7-4B18-BBA7-AE526708D939}"/>
          </ac:spMkLst>
        </pc:spChg>
        <pc:spChg chg="mod">
          <ac:chgData name="Horvei, Christina" userId="cd24bc57-60b2-4e37-aa14-cf0aa018956c" providerId="ADAL" clId="{913F0EFD-FE20-4191-80FE-C7DDCA3330BF}" dt="2022-05-09T21:07:33.239" v="972" actId="1035"/>
          <ac:spMkLst>
            <pc:docMk/>
            <pc:sldMk cId="1499748999" sldId="2147309172"/>
            <ac:spMk id="52" creationId="{7EF63173-29AE-4530-ABC4-DAAE69C69A00}"/>
          </ac:spMkLst>
        </pc:spChg>
        <pc:spChg chg="mod">
          <ac:chgData name="Horvei, Christina" userId="cd24bc57-60b2-4e37-aa14-cf0aa018956c" providerId="ADAL" clId="{913F0EFD-FE20-4191-80FE-C7DDCA3330BF}" dt="2022-05-09T21:07:33.239" v="972" actId="1035"/>
          <ac:spMkLst>
            <pc:docMk/>
            <pc:sldMk cId="1499748999" sldId="2147309172"/>
            <ac:spMk id="53" creationId="{9A541F79-BC91-4AFA-ADC1-85D472B392DD}"/>
          </ac:spMkLst>
        </pc:spChg>
        <pc:spChg chg="mod">
          <ac:chgData name="Horvei, Christina" userId="cd24bc57-60b2-4e37-aa14-cf0aa018956c" providerId="ADAL" clId="{913F0EFD-FE20-4191-80FE-C7DDCA3330BF}" dt="2022-05-09T21:07:33.239" v="972" actId="1035"/>
          <ac:spMkLst>
            <pc:docMk/>
            <pc:sldMk cId="1499748999" sldId="2147309172"/>
            <ac:spMk id="54" creationId="{73DA793B-CF37-41CC-A4C0-B083CAD94E1B}"/>
          </ac:spMkLst>
        </pc:spChg>
        <pc:spChg chg="mod">
          <ac:chgData name="Horvei, Christina" userId="cd24bc57-60b2-4e37-aa14-cf0aa018956c" providerId="ADAL" clId="{913F0EFD-FE20-4191-80FE-C7DDCA3330BF}" dt="2022-05-09T21:07:33.239" v="972" actId="1035"/>
          <ac:spMkLst>
            <pc:docMk/>
            <pc:sldMk cId="1499748999" sldId="2147309172"/>
            <ac:spMk id="55" creationId="{972E0CE8-6DAF-46CA-941C-385E55B9C990}"/>
          </ac:spMkLst>
        </pc:spChg>
        <pc:spChg chg="mod">
          <ac:chgData name="Horvei, Christina" userId="cd24bc57-60b2-4e37-aa14-cf0aa018956c" providerId="ADAL" clId="{913F0EFD-FE20-4191-80FE-C7DDCA3330BF}" dt="2022-05-09T21:07:33.239" v="972" actId="1035"/>
          <ac:spMkLst>
            <pc:docMk/>
            <pc:sldMk cId="1499748999" sldId="2147309172"/>
            <ac:spMk id="56" creationId="{74FC72E0-763F-475B-885C-2CC6968DC99B}"/>
          </ac:spMkLst>
        </pc:spChg>
        <pc:spChg chg="mod">
          <ac:chgData name="Horvei, Christina" userId="cd24bc57-60b2-4e37-aa14-cf0aa018956c" providerId="ADAL" clId="{913F0EFD-FE20-4191-80FE-C7DDCA3330BF}" dt="2022-05-09T21:07:33.239" v="972" actId="1035"/>
          <ac:spMkLst>
            <pc:docMk/>
            <pc:sldMk cId="1499748999" sldId="2147309172"/>
            <ac:spMk id="57" creationId="{59F3CD5D-48A2-416D-9DE0-95DCB69415F1}"/>
          </ac:spMkLst>
        </pc:spChg>
        <pc:spChg chg="mod">
          <ac:chgData name="Horvei, Christina" userId="cd24bc57-60b2-4e37-aa14-cf0aa018956c" providerId="ADAL" clId="{913F0EFD-FE20-4191-80FE-C7DDCA3330BF}" dt="2022-05-09T21:07:33.239" v="972" actId="1035"/>
          <ac:spMkLst>
            <pc:docMk/>
            <pc:sldMk cId="1499748999" sldId="2147309172"/>
            <ac:spMk id="58" creationId="{142C507C-25CB-4109-807F-DF71A3DB67AD}"/>
          </ac:spMkLst>
        </pc:spChg>
        <pc:spChg chg="mod">
          <ac:chgData name="Horvei, Christina" userId="cd24bc57-60b2-4e37-aa14-cf0aa018956c" providerId="ADAL" clId="{913F0EFD-FE20-4191-80FE-C7DDCA3330BF}" dt="2022-05-09T21:07:33.239" v="972" actId="1035"/>
          <ac:spMkLst>
            <pc:docMk/>
            <pc:sldMk cId="1499748999" sldId="2147309172"/>
            <ac:spMk id="60" creationId="{B783C816-13FC-40E8-B793-1B3B299139AE}"/>
          </ac:spMkLst>
        </pc:spChg>
        <pc:spChg chg="mod">
          <ac:chgData name="Horvei, Christina" userId="cd24bc57-60b2-4e37-aa14-cf0aa018956c" providerId="ADAL" clId="{913F0EFD-FE20-4191-80FE-C7DDCA3330BF}" dt="2022-05-09T21:07:33.239" v="972" actId="1035"/>
          <ac:spMkLst>
            <pc:docMk/>
            <pc:sldMk cId="1499748999" sldId="2147309172"/>
            <ac:spMk id="62" creationId="{AA94667E-179D-4C24-BB70-2FA073913363}"/>
          </ac:spMkLst>
        </pc:spChg>
        <pc:spChg chg="mod">
          <ac:chgData name="Horvei, Christina" userId="cd24bc57-60b2-4e37-aa14-cf0aa018956c" providerId="ADAL" clId="{913F0EFD-FE20-4191-80FE-C7DDCA3330BF}" dt="2022-05-09T21:07:33.239" v="972" actId="1035"/>
          <ac:spMkLst>
            <pc:docMk/>
            <pc:sldMk cId="1499748999" sldId="2147309172"/>
            <ac:spMk id="63" creationId="{06F51D83-4CE5-4EE5-85A1-92CBD96EC82E}"/>
          </ac:spMkLst>
        </pc:spChg>
        <pc:spChg chg="mod">
          <ac:chgData name="Horvei, Christina" userId="cd24bc57-60b2-4e37-aa14-cf0aa018956c" providerId="ADAL" clId="{913F0EFD-FE20-4191-80FE-C7DDCA3330BF}" dt="2022-05-09T21:07:33.239" v="972" actId="1035"/>
          <ac:spMkLst>
            <pc:docMk/>
            <pc:sldMk cId="1499748999" sldId="2147309172"/>
            <ac:spMk id="64" creationId="{2E36AB02-E7BB-4AFF-B5FA-42229FF9ED11}"/>
          </ac:spMkLst>
        </pc:spChg>
        <pc:spChg chg="mod">
          <ac:chgData name="Horvei, Christina" userId="cd24bc57-60b2-4e37-aa14-cf0aa018956c" providerId="ADAL" clId="{913F0EFD-FE20-4191-80FE-C7DDCA3330BF}" dt="2022-05-09T21:07:33.239" v="972" actId="1035"/>
          <ac:spMkLst>
            <pc:docMk/>
            <pc:sldMk cId="1499748999" sldId="2147309172"/>
            <ac:spMk id="65" creationId="{72347FB7-5C39-4B33-9A90-2E094F90D361}"/>
          </ac:spMkLst>
        </pc:spChg>
        <pc:spChg chg="mod">
          <ac:chgData name="Horvei, Christina" userId="cd24bc57-60b2-4e37-aa14-cf0aa018956c" providerId="ADAL" clId="{913F0EFD-FE20-4191-80FE-C7DDCA3330BF}" dt="2022-05-09T21:07:33.239" v="972" actId="1035"/>
          <ac:spMkLst>
            <pc:docMk/>
            <pc:sldMk cId="1499748999" sldId="2147309172"/>
            <ac:spMk id="66" creationId="{7F4E4D78-4975-4E74-91AB-EA1696C348D4}"/>
          </ac:spMkLst>
        </pc:spChg>
        <pc:spChg chg="mod">
          <ac:chgData name="Horvei, Christina" userId="cd24bc57-60b2-4e37-aa14-cf0aa018956c" providerId="ADAL" clId="{913F0EFD-FE20-4191-80FE-C7DDCA3330BF}" dt="2022-05-09T21:07:33.239" v="972" actId="1035"/>
          <ac:spMkLst>
            <pc:docMk/>
            <pc:sldMk cId="1499748999" sldId="2147309172"/>
            <ac:spMk id="67" creationId="{3A623F1C-07A7-42E6-979B-7C08AA283CF1}"/>
          </ac:spMkLst>
        </pc:spChg>
        <pc:spChg chg="mod">
          <ac:chgData name="Horvei, Christina" userId="cd24bc57-60b2-4e37-aa14-cf0aa018956c" providerId="ADAL" clId="{913F0EFD-FE20-4191-80FE-C7DDCA3330BF}" dt="2022-05-09T21:07:33.239" v="972" actId="1035"/>
          <ac:spMkLst>
            <pc:docMk/>
            <pc:sldMk cId="1499748999" sldId="2147309172"/>
            <ac:spMk id="68" creationId="{52170709-DE41-4FFE-B01D-5363641D2A28}"/>
          </ac:spMkLst>
        </pc:spChg>
        <pc:spChg chg="mod">
          <ac:chgData name="Horvei, Christina" userId="cd24bc57-60b2-4e37-aa14-cf0aa018956c" providerId="ADAL" clId="{913F0EFD-FE20-4191-80FE-C7DDCA3330BF}" dt="2022-05-09T21:07:33.239" v="972" actId="1035"/>
          <ac:spMkLst>
            <pc:docMk/>
            <pc:sldMk cId="1499748999" sldId="2147309172"/>
            <ac:spMk id="69" creationId="{99497F66-8F31-42B3-8E73-8947A452376A}"/>
          </ac:spMkLst>
        </pc:spChg>
        <pc:spChg chg="mod">
          <ac:chgData name="Horvei, Christina" userId="cd24bc57-60b2-4e37-aa14-cf0aa018956c" providerId="ADAL" clId="{913F0EFD-FE20-4191-80FE-C7DDCA3330BF}" dt="2022-05-09T21:07:33.239" v="972" actId="1035"/>
          <ac:spMkLst>
            <pc:docMk/>
            <pc:sldMk cId="1499748999" sldId="2147309172"/>
            <ac:spMk id="70" creationId="{E615B8EE-83EA-413D-9F76-7321012B6A49}"/>
          </ac:spMkLst>
        </pc:spChg>
        <pc:spChg chg="mod">
          <ac:chgData name="Horvei, Christina" userId="cd24bc57-60b2-4e37-aa14-cf0aa018956c" providerId="ADAL" clId="{913F0EFD-FE20-4191-80FE-C7DDCA3330BF}" dt="2022-05-09T21:07:33.239" v="972" actId="1035"/>
          <ac:spMkLst>
            <pc:docMk/>
            <pc:sldMk cId="1499748999" sldId="2147309172"/>
            <ac:spMk id="71" creationId="{FF8D2608-8DB5-41A9-AF01-45B2A07D0E21}"/>
          </ac:spMkLst>
        </pc:spChg>
        <pc:spChg chg="mod">
          <ac:chgData name="Horvei, Christina" userId="cd24bc57-60b2-4e37-aa14-cf0aa018956c" providerId="ADAL" clId="{913F0EFD-FE20-4191-80FE-C7DDCA3330BF}" dt="2022-05-09T21:07:33.239" v="972" actId="1035"/>
          <ac:spMkLst>
            <pc:docMk/>
            <pc:sldMk cId="1499748999" sldId="2147309172"/>
            <ac:spMk id="72" creationId="{B1826CC3-E8D5-4E38-BB66-356ED741FA26}"/>
          </ac:spMkLst>
        </pc:spChg>
        <pc:spChg chg="mod">
          <ac:chgData name="Horvei, Christina" userId="cd24bc57-60b2-4e37-aa14-cf0aa018956c" providerId="ADAL" clId="{913F0EFD-FE20-4191-80FE-C7DDCA3330BF}" dt="2022-05-09T21:07:33.239" v="972" actId="1035"/>
          <ac:spMkLst>
            <pc:docMk/>
            <pc:sldMk cId="1499748999" sldId="2147309172"/>
            <ac:spMk id="73" creationId="{B4075393-C164-4127-A724-6ADAB2E609A5}"/>
          </ac:spMkLst>
        </pc:spChg>
        <pc:spChg chg="mod">
          <ac:chgData name="Horvei, Christina" userId="cd24bc57-60b2-4e37-aa14-cf0aa018956c" providerId="ADAL" clId="{913F0EFD-FE20-4191-80FE-C7DDCA3330BF}" dt="2022-05-09T21:07:33.239" v="972" actId="1035"/>
          <ac:spMkLst>
            <pc:docMk/>
            <pc:sldMk cId="1499748999" sldId="2147309172"/>
            <ac:spMk id="75" creationId="{56205A8D-2B1C-4721-BF99-85C7A8729A0F}"/>
          </ac:spMkLst>
        </pc:spChg>
        <pc:spChg chg="mod">
          <ac:chgData name="Horvei, Christina" userId="cd24bc57-60b2-4e37-aa14-cf0aa018956c" providerId="ADAL" clId="{913F0EFD-FE20-4191-80FE-C7DDCA3330BF}" dt="2022-05-09T21:07:33.239" v="972" actId="1035"/>
          <ac:spMkLst>
            <pc:docMk/>
            <pc:sldMk cId="1499748999" sldId="2147309172"/>
            <ac:spMk id="76" creationId="{D6A842D4-376B-48F6-85F5-ED5151A89761}"/>
          </ac:spMkLst>
        </pc:spChg>
        <pc:spChg chg="mod">
          <ac:chgData name="Horvei, Christina" userId="cd24bc57-60b2-4e37-aa14-cf0aa018956c" providerId="ADAL" clId="{913F0EFD-FE20-4191-80FE-C7DDCA3330BF}" dt="2022-05-09T21:07:33.239" v="972" actId="1035"/>
          <ac:spMkLst>
            <pc:docMk/>
            <pc:sldMk cId="1499748999" sldId="2147309172"/>
            <ac:spMk id="77" creationId="{B1DC2C77-3C68-4583-8E00-120A29684A5A}"/>
          </ac:spMkLst>
        </pc:spChg>
        <pc:spChg chg="mod">
          <ac:chgData name="Horvei, Christina" userId="cd24bc57-60b2-4e37-aa14-cf0aa018956c" providerId="ADAL" clId="{913F0EFD-FE20-4191-80FE-C7DDCA3330BF}" dt="2022-05-09T21:07:33.239" v="972" actId="1035"/>
          <ac:spMkLst>
            <pc:docMk/>
            <pc:sldMk cId="1499748999" sldId="2147309172"/>
            <ac:spMk id="78" creationId="{60F58578-3E3B-45FB-817B-B5930C4253E7}"/>
          </ac:spMkLst>
        </pc:spChg>
        <pc:spChg chg="mod">
          <ac:chgData name="Horvei, Christina" userId="cd24bc57-60b2-4e37-aa14-cf0aa018956c" providerId="ADAL" clId="{913F0EFD-FE20-4191-80FE-C7DDCA3330BF}" dt="2022-05-09T21:07:33.239" v="972" actId="1035"/>
          <ac:spMkLst>
            <pc:docMk/>
            <pc:sldMk cId="1499748999" sldId="2147309172"/>
            <ac:spMk id="79" creationId="{63B88205-4384-47CF-BA32-AA3BDCD7E5E4}"/>
          </ac:spMkLst>
        </pc:spChg>
        <pc:spChg chg="mod">
          <ac:chgData name="Horvei, Christina" userId="cd24bc57-60b2-4e37-aa14-cf0aa018956c" providerId="ADAL" clId="{913F0EFD-FE20-4191-80FE-C7DDCA3330BF}" dt="2022-05-09T21:07:33.239" v="972" actId="1035"/>
          <ac:spMkLst>
            <pc:docMk/>
            <pc:sldMk cId="1499748999" sldId="2147309172"/>
            <ac:spMk id="80" creationId="{E73A811D-D9FF-4D8F-AA5C-2CCFB426D687}"/>
          </ac:spMkLst>
        </pc:spChg>
        <pc:spChg chg="mod">
          <ac:chgData name="Horvei, Christina" userId="cd24bc57-60b2-4e37-aa14-cf0aa018956c" providerId="ADAL" clId="{913F0EFD-FE20-4191-80FE-C7DDCA3330BF}" dt="2022-05-09T21:07:33.239" v="972" actId="1035"/>
          <ac:spMkLst>
            <pc:docMk/>
            <pc:sldMk cId="1499748999" sldId="2147309172"/>
            <ac:spMk id="81" creationId="{5EF69DED-DA14-465B-AEAE-45030D81CA20}"/>
          </ac:spMkLst>
        </pc:spChg>
        <pc:spChg chg="mod">
          <ac:chgData name="Horvei, Christina" userId="cd24bc57-60b2-4e37-aa14-cf0aa018956c" providerId="ADAL" clId="{913F0EFD-FE20-4191-80FE-C7DDCA3330BF}" dt="2022-05-09T21:07:33.239" v="972" actId="1035"/>
          <ac:spMkLst>
            <pc:docMk/>
            <pc:sldMk cId="1499748999" sldId="2147309172"/>
            <ac:spMk id="82" creationId="{000E4599-A5B0-4B57-999F-F3D73C69EC66}"/>
          </ac:spMkLst>
        </pc:spChg>
        <pc:spChg chg="mod">
          <ac:chgData name="Horvei, Christina" userId="cd24bc57-60b2-4e37-aa14-cf0aa018956c" providerId="ADAL" clId="{913F0EFD-FE20-4191-80FE-C7DDCA3330BF}" dt="2022-05-09T21:07:33.239" v="972" actId="1035"/>
          <ac:spMkLst>
            <pc:docMk/>
            <pc:sldMk cId="1499748999" sldId="2147309172"/>
            <ac:spMk id="83" creationId="{214F255A-BBF8-4BF5-85C5-BE27FA4EDFC1}"/>
          </ac:spMkLst>
        </pc:spChg>
        <pc:spChg chg="mod">
          <ac:chgData name="Horvei, Christina" userId="cd24bc57-60b2-4e37-aa14-cf0aa018956c" providerId="ADAL" clId="{913F0EFD-FE20-4191-80FE-C7DDCA3330BF}" dt="2022-05-09T21:07:33.239" v="972" actId="1035"/>
          <ac:spMkLst>
            <pc:docMk/>
            <pc:sldMk cId="1499748999" sldId="2147309172"/>
            <ac:spMk id="85" creationId="{D8A459A7-71EA-4543-A983-1B1E23916A1C}"/>
          </ac:spMkLst>
        </pc:spChg>
        <pc:spChg chg="mod">
          <ac:chgData name="Horvei, Christina" userId="cd24bc57-60b2-4e37-aa14-cf0aa018956c" providerId="ADAL" clId="{913F0EFD-FE20-4191-80FE-C7DDCA3330BF}" dt="2022-05-09T21:07:33.239" v="972" actId="1035"/>
          <ac:spMkLst>
            <pc:docMk/>
            <pc:sldMk cId="1499748999" sldId="2147309172"/>
            <ac:spMk id="86" creationId="{E2D77E4D-8D0D-4143-9D95-AC473A58A66F}"/>
          </ac:spMkLst>
        </pc:spChg>
        <pc:spChg chg="mod">
          <ac:chgData name="Horvei, Christina" userId="cd24bc57-60b2-4e37-aa14-cf0aa018956c" providerId="ADAL" clId="{913F0EFD-FE20-4191-80FE-C7DDCA3330BF}" dt="2022-05-09T21:07:33.239" v="972" actId="1035"/>
          <ac:spMkLst>
            <pc:docMk/>
            <pc:sldMk cId="1499748999" sldId="2147309172"/>
            <ac:spMk id="87" creationId="{8822C16A-92DA-4DBA-BB4D-F35799CC2668}"/>
          </ac:spMkLst>
        </pc:spChg>
        <pc:spChg chg="mod">
          <ac:chgData name="Horvei, Christina" userId="cd24bc57-60b2-4e37-aa14-cf0aa018956c" providerId="ADAL" clId="{913F0EFD-FE20-4191-80FE-C7DDCA3330BF}" dt="2022-05-09T21:07:33.239" v="972" actId="1035"/>
          <ac:spMkLst>
            <pc:docMk/>
            <pc:sldMk cId="1499748999" sldId="2147309172"/>
            <ac:spMk id="88" creationId="{B5D444B5-A855-405E-8E10-00316D895446}"/>
          </ac:spMkLst>
        </pc:spChg>
        <pc:spChg chg="mod">
          <ac:chgData name="Horvei, Christina" userId="cd24bc57-60b2-4e37-aa14-cf0aa018956c" providerId="ADAL" clId="{913F0EFD-FE20-4191-80FE-C7DDCA3330BF}" dt="2022-05-09T21:07:33.239" v="972" actId="1035"/>
          <ac:spMkLst>
            <pc:docMk/>
            <pc:sldMk cId="1499748999" sldId="2147309172"/>
            <ac:spMk id="89" creationId="{5EC512BE-67A6-44A1-BDE2-56287FBEC9DA}"/>
          </ac:spMkLst>
        </pc:spChg>
        <pc:spChg chg="mod">
          <ac:chgData name="Horvei, Christina" userId="cd24bc57-60b2-4e37-aa14-cf0aa018956c" providerId="ADAL" clId="{913F0EFD-FE20-4191-80FE-C7DDCA3330BF}" dt="2022-05-09T21:07:33.239" v="972" actId="1035"/>
          <ac:spMkLst>
            <pc:docMk/>
            <pc:sldMk cId="1499748999" sldId="2147309172"/>
            <ac:spMk id="90" creationId="{F1DB4467-5B6C-44DD-B234-B0BE9E82E6DA}"/>
          </ac:spMkLst>
        </pc:spChg>
        <pc:spChg chg="mod">
          <ac:chgData name="Horvei, Christina" userId="cd24bc57-60b2-4e37-aa14-cf0aa018956c" providerId="ADAL" clId="{913F0EFD-FE20-4191-80FE-C7DDCA3330BF}" dt="2022-05-09T21:07:33.239" v="972" actId="1035"/>
          <ac:spMkLst>
            <pc:docMk/>
            <pc:sldMk cId="1499748999" sldId="2147309172"/>
            <ac:spMk id="91" creationId="{4DBBCE1E-3C11-4823-888B-2A2A37A63886}"/>
          </ac:spMkLst>
        </pc:spChg>
        <pc:spChg chg="mod">
          <ac:chgData name="Horvei, Christina" userId="cd24bc57-60b2-4e37-aa14-cf0aa018956c" providerId="ADAL" clId="{913F0EFD-FE20-4191-80FE-C7DDCA3330BF}" dt="2022-05-09T21:07:33.239" v="972" actId="1035"/>
          <ac:spMkLst>
            <pc:docMk/>
            <pc:sldMk cId="1499748999" sldId="2147309172"/>
            <ac:spMk id="92" creationId="{6712B16C-ED46-44C3-8FE1-72CC07AE3435}"/>
          </ac:spMkLst>
        </pc:spChg>
        <pc:spChg chg="mod">
          <ac:chgData name="Horvei, Christina" userId="cd24bc57-60b2-4e37-aa14-cf0aa018956c" providerId="ADAL" clId="{913F0EFD-FE20-4191-80FE-C7DDCA3330BF}" dt="2022-05-09T21:07:33.239" v="972" actId="1035"/>
          <ac:spMkLst>
            <pc:docMk/>
            <pc:sldMk cId="1499748999" sldId="2147309172"/>
            <ac:spMk id="93" creationId="{4606D1BC-8B67-402C-808E-F84CC1E8C88F}"/>
          </ac:spMkLst>
        </pc:spChg>
        <pc:spChg chg="mod">
          <ac:chgData name="Horvei, Christina" userId="cd24bc57-60b2-4e37-aa14-cf0aa018956c" providerId="ADAL" clId="{913F0EFD-FE20-4191-80FE-C7DDCA3330BF}" dt="2022-05-09T21:07:33.239" v="972" actId="1035"/>
          <ac:spMkLst>
            <pc:docMk/>
            <pc:sldMk cId="1499748999" sldId="2147309172"/>
            <ac:spMk id="94" creationId="{39D84A9D-EAEA-4340-A3C3-C21E208CFB7E}"/>
          </ac:spMkLst>
        </pc:spChg>
        <pc:spChg chg="mod">
          <ac:chgData name="Horvei, Christina" userId="cd24bc57-60b2-4e37-aa14-cf0aa018956c" providerId="ADAL" clId="{913F0EFD-FE20-4191-80FE-C7DDCA3330BF}" dt="2022-05-09T21:07:33.239" v="972" actId="1035"/>
          <ac:spMkLst>
            <pc:docMk/>
            <pc:sldMk cId="1499748999" sldId="2147309172"/>
            <ac:spMk id="95" creationId="{FA93E059-D73A-4DEB-A86E-EA5CEE7502DE}"/>
          </ac:spMkLst>
        </pc:spChg>
        <pc:spChg chg="mod">
          <ac:chgData name="Horvei, Christina" userId="cd24bc57-60b2-4e37-aa14-cf0aa018956c" providerId="ADAL" clId="{913F0EFD-FE20-4191-80FE-C7DDCA3330BF}" dt="2022-05-09T21:07:33.239" v="972" actId="1035"/>
          <ac:spMkLst>
            <pc:docMk/>
            <pc:sldMk cId="1499748999" sldId="2147309172"/>
            <ac:spMk id="96" creationId="{5EB1EC92-DA5C-4D25-88D9-1F3DC9603D19}"/>
          </ac:spMkLst>
        </pc:spChg>
        <pc:spChg chg="mod">
          <ac:chgData name="Horvei, Christina" userId="cd24bc57-60b2-4e37-aa14-cf0aa018956c" providerId="ADAL" clId="{913F0EFD-FE20-4191-80FE-C7DDCA3330BF}" dt="2022-05-09T21:07:33.239" v="972" actId="1035"/>
          <ac:spMkLst>
            <pc:docMk/>
            <pc:sldMk cId="1499748999" sldId="2147309172"/>
            <ac:spMk id="97" creationId="{D7771BC4-39B1-414E-BCE4-0E3A278BAF32}"/>
          </ac:spMkLst>
        </pc:spChg>
        <pc:spChg chg="mod">
          <ac:chgData name="Horvei, Christina" userId="cd24bc57-60b2-4e37-aa14-cf0aa018956c" providerId="ADAL" clId="{913F0EFD-FE20-4191-80FE-C7DDCA3330BF}" dt="2022-05-09T21:07:33.239" v="972" actId="1035"/>
          <ac:spMkLst>
            <pc:docMk/>
            <pc:sldMk cId="1499748999" sldId="2147309172"/>
            <ac:spMk id="105" creationId="{FD70F499-3A8C-4D7D-AF22-1281072B5A74}"/>
          </ac:spMkLst>
        </pc:spChg>
        <pc:spChg chg="mod">
          <ac:chgData name="Horvei, Christina" userId="cd24bc57-60b2-4e37-aa14-cf0aa018956c" providerId="ADAL" clId="{913F0EFD-FE20-4191-80FE-C7DDCA3330BF}" dt="2022-05-09T21:07:33.239" v="972" actId="1035"/>
          <ac:spMkLst>
            <pc:docMk/>
            <pc:sldMk cId="1499748999" sldId="2147309172"/>
            <ac:spMk id="106" creationId="{85444CEF-0D92-45E1-935E-39D69785A112}"/>
          </ac:spMkLst>
        </pc:spChg>
        <pc:spChg chg="mod">
          <ac:chgData name="Horvei, Christina" userId="cd24bc57-60b2-4e37-aa14-cf0aa018956c" providerId="ADAL" clId="{913F0EFD-FE20-4191-80FE-C7DDCA3330BF}" dt="2022-05-09T21:07:33.239" v="972" actId="1035"/>
          <ac:spMkLst>
            <pc:docMk/>
            <pc:sldMk cId="1499748999" sldId="2147309172"/>
            <ac:spMk id="107" creationId="{FB76CA50-8E8E-4FED-AF4C-B57069ADE8E4}"/>
          </ac:spMkLst>
        </pc:spChg>
        <pc:spChg chg="mod">
          <ac:chgData name="Horvei, Christina" userId="cd24bc57-60b2-4e37-aa14-cf0aa018956c" providerId="ADAL" clId="{913F0EFD-FE20-4191-80FE-C7DDCA3330BF}" dt="2022-05-09T21:07:33.239" v="972" actId="1035"/>
          <ac:spMkLst>
            <pc:docMk/>
            <pc:sldMk cId="1499748999" sldId="2147309172"/>
            <ac:spMk id="108" creationId="{83599FFD-DE49-40C6-A03E-3FEC6821B67D}"/>
          </ac:spMkLst>
        </pc:spChg>
        <pc:spChg chg="mod">
          <ac:chgData name="Horvei, Christina" userId="cd24bc57-60b2-4e37-aa14-cf0aa018956c" providerId="ADAL" clId="{913F0EFD-FE20-4191-80FE-C7DDCA3330BF}" dt="2022-05-09T21:07:33.239" v="972" actId="1035"/>
          <ac:spMkLst>
            <pc:docMk/>
            <pc:sldMk cId="1499748999" sldId="2147309172"/>
            <ac:spMk id="109" creationId="{0AC30CF0-F690-4468-967B-8403F51249B3}"/>
          </ac:spMkLst>
        </pc:spChg>
        <pc:spChg chg="mod">
          <ac:chgData name="Horvei, Christina" userId="cd24bc57-60b2-4e37-aa14-cf0aa018956c" providerId="ADAL" clId="{913F0EFD-FE20-4191-80FE-C7DDCA3330BF}" dt="2022-05-09T21:07:33.239" v="972" actId="1035"/>
          <ac:spMkLst>
            <pc:docMk/>
            <pc:sldMk cId="1499748999" sldId="2147309172"/>
            <ac:spMk id="111" creationId="{31F08C77-7E71-4E35-AFA5-DF73BE1CACB5}"/>
          </ac:spMkLst>
        </pc:spChg>
        <pc:spChg chg="mod">
          <ac:chgData name="Horvei, Christina" userId="cd24bc57-60b2-4e37-aa14-cf0aa018956c" providerId="ADAL" clId="{913F0EFD-FE20-4191-80FE-C7DDCA3330BF}" dt="2022-05-09T21:07:33.239" v="972" actId="1035"/>
          <ac:spMkLst>
            <pc:docMk/>
            <pc:sldMk cId="1499748999" sldId="2147309172"/>
            <ac:spMk id="112" creationId="{2F24AFC2-E444-469A-9E9D-2565EC418CD0}"/>
          </ac:spMkLst>
        </pc:spChg>
        <pc:spChg chg="mod">
          <ac:chgData name="Horvei, Christina" userId="cd24bc57-60b2-4e37-aa14-cf0aa018956c" providerId="ADAL" clId="{913F0EFD-FE20-4191-80FE-C7DDCA3330BF}" dt="2022-05-09T21:07:33.239" v="972" actId="1035"/>
          <ac:spMkLst>
            <pc:docMk/>
            <pc:sldMk cId="1499748999" sldId="2147309172"/>
            <ac:spMk id="113" creationId="{C4A58E6D-9266-499D-8300-91C7DDE8E705}"/>
          </ac:spMkLst>
        </pc:spChg>
        <pc:spChg chg="mod">
          <ac:chgData name="Horvei, Christina" userId="cd24bc57-60b2-4e37-aa14-cf0aa018956c" providerId="ADAL" clId="{913F0EFD-FE20-4191-80FE-C7DDCA3330BF}" dt="2022-05-09T21:07:33.239" v="972" actId="1035"/>
          <ac:spMkLst>
            <pc:docMk/>
            <pc:sldMk cId="1499748999" sldId="2147309172"/>
            <ac:spMk id="114" creationId="{957324FB-339C-4249-8644-3655E83BB5C5}"/>
          </ac:spMkLst>
        </pc:spChg>
        <pc:grpChg chg="mod">
          <ac:chgData name="Horvei, Christina" userId="cd24bc57-60b2-4e37-aa14-cf0aa018956c" providerId="ADAL" clId="{913F0EFD-FE20-4191-80FE-C7DDCA3330BF}" dt="2022-05-09T21:07:33.239" v="972" actId="1035"/>
          <ac:grpSpMkLst>
            <pc:docMk/>
            <pc:sldMk cId="1499748999" sldId="2147309172"/>
            <ac:grpSpMk id="11" creationId="{A252D9ED-9F28-492E-86D7-7E4CE6F54C73}"/>
          </ac:grpSpMkLst>
        </pc:grpChg>
        <pc:grpChg chg="mod">
          <ac:chgData name="Horvei, Christina" userId="cd24bc57-60b2-4e37-aa14-cf0aa018956c" providerId="ADAL" clId="{913F0EFD-FE20-4191-80FE-C7DDCA3330BF}" dt="2022-05-09T21:07:33.239" v="972" actId="1035"/>
          <ac:grpSpMkLst>
            <pc:docMk/>
            <pc:sldMk cId="1499748999" sldId="2147309172"/>
            <ac:grpSpMk id="12" creationId="{85F98BD0-9C70-423F-B7F0-EA3AF60AE0F8}"/>
          </ac:grpSpMkLst>
        </pc:grpChg>
        <pc:grpChg chg="mod">
          <ac:chgData name="Horvei, Christina" userId="cd24bc57-60b2-4e37-aa14-cf0aa018956c" providerId="ADAL" clId="{913F0EFD-FE20-4191-80FE-C7DDCA3330BF}" dt="2022-05-09T21:07:33.239" v="972" actId="1035"/>
          <ac:grpSpMkLst>
            <pc:docMk/>
            <pc:sldMk cId="1499748999" sldId="2147309172"/>
            <ac:grpSpMk id="17" creationId="{5CD6C092-4EB0-4390-A68A-DFDB24F244AC}"/>
          </ac:grpSpMkLst>
        </pc:grpChg>
        <pc:grpChg chg="mod">
          <ac:chgData name="Horvei, Christina" userId="cd24bc57-60b2-4e37-aa14-cf0aa018956c" providerId="ADAL" clId="{913F0EFD-FE20-4191-80FE-C7DDCA3330BF}" dt="2022-05-09T21:07:33.239" v="972" actId="1035"/>
          <ac:grpSpMkLst>
            <pc:docMk/>
            <pc:sldMk cId="1499748999" sldId="2147309172"/>
            <ac:grpSpMk id="22" creationId="{557571D0-E209-4FB6-9821-F5965D88C7C9}"/>
          </ac:grpSpMkLst>
        </pc:grpChg>
        <pc:grpChg chg="mod">
          <ac:chgData name="Horvei, Christina" userId="cd24bc57-60b2-4e37-aa14-cf0aa018956c" providerId="ADAL" clId="{913F0EFD-FE20-4191-80FE-C7DDCA3330BF}" dt="2022-05-09T21:07:33.239" v="972" actId="1035"/>
          <ac:grpSpMkLst>
            <pc:docMk/>
            <pc:sldMk cId="1499748999" sldId="2147309172"/>
            <ac:grpSpMk id="27" creationId="{7171E72E-AE84-4153-BE9B-2602EDA2E595}"/>
          </ac:grpSpMkLst>
        </pc:grpChg>
        <pc:grpChg chg="mod">
          <ac:chgData name="Horvei, Christina" userId="cd24bc57-60b2-4e37-aa14-cf0aa018956c" providerId="ADAL" clId="{913F0EFD-FE20-4191-80FE-C7DDCA3330BF}" dt="2022-05-09T21:07:33.239" v="972" actId="1035"/>
          <ac:grpSpMkLst>
            <pc:docMk/>
            <pc:sldMk cId="1499748999" sldId="2147309172"/>
            <ac:grpSpMk id="30" creationId="{69604043-73C5-45EE-ADDB-8DED7DD8813A}"/>
          </ac:grpSpMkLst>
        </pc:grpChg>
        <pc:grpChg chg="mod">
          <ac:chgData name="Horvei, Christina" userId="cd24bc57-60b2-4e37-aa14-cf0aa018956c" providerId="ADAL" clId="{913F0EFD-FE20-4191-80FE-C7DDCA3330BF}" dt="2022-05-09T21:07:33.239" v="972" actId="1035"/>
          <ac:grpSpMkLst>
            <pc:docMk/>
            <pc:sldMk cId="1499748999" sldId="2147309172"/>
            <ac:grpSpMk id="34" creationId="{A5EBDB1A-F233-41F2-B11D-4B2D0768B197}"/>
          </ac:grpSpMkLst>
        </pc:grpChg>
        <pc:grpChg chg="mod">
          <ac:chgData name="Horvei, Christina" userId="cd24bc57-60b2-4e37-aa14-cf0aa018956c" providerId="ADAL" clId="{913F0EFD-FE20-4191-80FE-C7DDCA3330BF}" dt="2022-05-09T21:07:33.239" v="972" actId="1035"/>
          <ac:grpSpMkLst>
            <pc:docMk/>
            <pc:sldMk cId="1499748999" sldId="2147309172"/>
            <ac:grpSpMk id="40" creationId="{14458E5C-C0A2-4B42-92C1-A3BA1CEACA4A}"/>
          </ac:grpSpMkLst>
        </pc:grpChg>
        <pc:grpChg chg="mod">
          <ac:chgData name="Horvei, Christina" userId="cd24bc57-60b2-4e37-aa14-cf0aa018956c" providerId="ADAL" clId="{913F0EFD-FE20-4191-80FE-C7DDCA3330BF}" dt="2022-05-09T21:07:33.239" v="972" actId="1035"/>
          <ac:grpSpMkLst>
            <pc:docMk/>
            <pc:sldMk cId="1499748999" sldId="2147309172"/>
            <ac:grpSpMk id="59" creationId="{3F9FA64F-5117-4943-AF6A-558E5945E856}"/>
          </ac:grpSpMkLst>
        </pc:grpChg>
        <pc:grpChg chg="mod">
          <ac:chgData name="Horvei, Christina" userId="cd24bc57-60b2-4e37-aa14-cf0aa018956c" providerId="ADAL" clId="{913F0EFD-FE20-4191-80FE-C7DDCA3330BF}" dt="2022-05-09T21:07:33.239" v="972" actId="1035"/>
          <ac:grpSpMkLst>
            <pc:docMk/>
            <pc:sldMk cId="1499748999" sldId="2147309172"/>
            <ac:grpSpMk id="61" creationId="{C7B9BCDD-65E6-4075-811D-B516460059F0}"/>
          </ac:grpSpMkLst>
        </pc:grpChg>
        <pc:grpChg chg="mod">
          <ac:chgData name="Horvei, Christina" userId="cd24bc57-60b2-4e37-aa14-cf0aa018956c" providerId="ADAL" clId="{913F0EFD-FE20-4191-80FE-C7DDCA3330BF}" dt="2022-05-09T21:07:33.239" v="972" actId="1035"/>
          <ac:grpSpMkLst>
            <pc:docMk/>
            <pc:sldMk cId="1499748999" sldId="2147309172"/>
            <ac:grpSpMk id="84" creationId="{E05F06A8-4BFA-42EF-BC2F-97A67BB68BAE}"/>
          </ac:grpSpMkLst>
        </pc:grpChg>
        <pc:grpChg chg="mod">
          <ac:chgData name="Horvei, Christina" userId="cd24bc57-60b2-4e37-aa14-cf0aa018956c" providerId="ADAL" clId="{913F0EFD-FE20-4191-80FE-C7DDCA3330BF}" dt="2022-05-09T21:07:33.239" v="972" actId="1035"/>
          <ac:grpSpMkLst>
            <pc:docMk/>
            <pc:sldMk cId="1499748999" sldId="2147309172"/>
            <ac:grpSpMk id="104" creationId="{DA0FD5BE-61C5-4307-9BA2-A698941C1960}"/>
          </ac:grpSpMkLst>
        </pc:grpChg>
        <pc:picChg chg="mod">
          <ac:chgData name="Horvei, Christina" userId="cd24bc57-60b2-4e37-aa14-cf0aa018956c" providerId="ADAL" clId="{913F0EFD-FE20-4191-80FE-C7DDCA3330BF}" dt="2022-05-09T21:07:33.239" v="972" actId="1035"/>
          <ac:picMkLst>
            <pc:docMk/>
            <pc:sldMk cId="1499748999" sldId="2147309172"/>
            <ac:picMk id="74" creationId="{77272E1A-9BCC-42DF-A1A0-AE06C7BF7130}"/>
          </ac:picMkLst>
        </pc:picChg>
      </pc:sldChg>
      <pc:sldChg chg="addSp delSp modSp mod modAnim modNotesTx">
        <pc:chgData name="Horvei, Christina" userId="cd24bc57-60b2-4e37-aa14-cf0aa018956c" providerId="ADAL" clId="{913F0EFD-FE20-4191-80FE-C7DDCA3330BF}" dt="2022-05-09T21:07:12.808" v="948" actId="20577"/>
        <pc:sldMkLst>
          <pc:docMk/>
          <pc:sldMk cId="3440951814" sldId="2147309173"/>
        </pc:sldMkLst>
        <pc:spChg chg="mod">
          <ac:chgData name="Horvei, Christina" userId="cd24bc57-60b2-4e37-aa14-cf0aa018956c" providerId="ADAL" clId="{913F0EFD-FE20-4191-80FE-C7DDCA3330BF}" dt="2022-05-09T20:47:33.766" v="614" actId="948"/>
          <ac:spMkLst>
            <pc:docMk/>
            <pc:sldMk cId="3440951814" sldId="2147309173"/>
            <ac:spMk id="2" creationId="{1F296D3C-4715-4969-A338-ACAF84AA6B37}"/>
          </ac:spMkLst>
        </pc:spChg>
        <pc:spChg chg="add del mod modVis">
          <ac:chgData name="Horvei, Christina" userId="cd24bc57-60b2-4e37-aa14-cf0aa018956c" providerId="ADAL" clId="{913F0EFD-FE20-4191-80FE-C7DDCA3330BF}" dt="2022-05-09T20:47:33.822" v="653"/>
          <ac:spMkLst>
            <pc:docMk/>
            <pc:sldMk cId="3440951814" sldId="2147309173"/>
            <ac:spMk id="3" creationId="{8BB9443C-77DD-4120-8EDA-95F1A4EEF898}"/>
          </ac:spMkLst>
        </pc:spChg>
        <pc:spChg chg="mod">
          <ac:chgData name="Horvei, Christina" userId="cd24bc57-60b2-4e37-aa14-cf0aa018956c" providerId="ADAL" clId="{913F0EFD-FE20-4191-80FE-C7DDCA3330BF}" dt="2022-05-09T20:46:28.125" v="601" actId="1076"/>
          <ac:spMkLst>
            <pc:docMk/>
            <pc:sldMk cId="3440951814" sldId="2147309173"/>
            <ac:spMk id="12" creationId="{E7BC70BF-AAC8-40CF-AAC9-CF32AB554491}"/>
          </ac:spMkLst>
        </pc:spChg>
        <pc:spChg chg="mod">
          <ac:chgData name="Horvei, Christina" userId="cd24bc57-60b2-4e37-aa14-cf0aa018956c" providerId="ADAL" clId="{913F0EFD-FE20-4191-80FE-C7DDCA3330BF}" dt="2022-05-09T12:35:05.916" v="252" actId="14100"/>
          <ac:spMkLst>
            <pc:docMk/>
            <pc:sldMk cId="3440951814" sldId="2147309173"/>
            <ac:spMk id="13" creationId="{DD098582-49C2-4E15-8691-11671765309E}"/>
          </ac:spMkLst>
        </pc:spChg>
        <pc:spChg chg="mod">
          <ac:chgData name="Horvei, Christina" userId="cd24bc57-60b2-4e37-aa14-cf0aa018956c" providerId="ADAL" clId="{913F0EFD-FE20-4191-80FE-C7DDCA3330BF}" dt="2022-05-09T20:46:44.308" v="602" actId="1076"/>
          <ac:spMkLst>
            <pc:docMk/>
            <pc:sldMk cId="3440951814" sldId="2147309173"/>
            <ac:spMk id="14" creationId="{C84C5481-5708-4DCE-B521-8214996D9090}"/>
          </ac:spMkLst>
        </pc:spChg>
        <pc:spChg chg="mod">
          <ac:chgData name="Horvei, Christina" userId="cd24bc57-60b2-4e37-aa14-cf0aa018956c" providerId="ADAL" clId="{913F0EFD-FE20-4191-80FE-C7DDCA3330BF}" dt="2022-05-09T12:24:38.861" v="36" actId="20577"/>
          <ac:spMkLst>
            <pc:docMk/>
            <pc:sldMk cId="3440951814" sldId="2147309173"/>
            <ac:spMk id="24" creationId="{1116E58E-2D2D-4554-ABDD-8B1CAF04EAEE}"/>
          </ac:spMkLst>
        </pc:spChg>
        <pc:spChg chg="mod">
          <ac:chgData name="Horvei, Christina" userId="cd24bc57-60b2-4e37-aa14-cf0aa018956c" providerId="ADAL" clId="{913F0EFD-FE20-4191-80FE-C7DDCA3330BF}" dt="2022-05-09T14:43:36.352" v="557" actId="20577"/>
          <ac:spMkLst>
            <pc:docMk/>
            <pc:sldMk cId="3440951814" sldId="2147309173"/>
            <ac:spMk id="25" creationId="{FF88283C-A39C-4696-85A9-E36763C05BBE}"/>
          </ac:spMkLst>
        </pc:spChg>
        <pc:spChg chg="mod">
          <ac:chgData name="Horvei, Christina" userId="cd24bc57-60b2-4e37-aa14-cf0aa018956c" providerId="ADAL" clId="{913F0EFD-FE20-4191-80FE-C7DDCA3330BF}" dt="2022-05-09T14:43:48.832" v="559" actId="1076"/>
          <ac:spMkLst>
            <pc:docMk/>
            <pc:sldMk cId="3440951814" sldId="2147309173"/>
            <ac:spMk id="26" creationId="{EDE5A010-8260-44C9-A8B8-70213948D668}"/>
          </ac:spMkLst>
        </pc:spChg>
        <pc:graphicFrameChg chg="mod">
          <ac:chgData name="Horvei, Christina" userId="cd24bc57-60b2-4e37-aa14-cf0aa018956c" providerId="ADAL" clId="{913F0EFD-FE20-4191-80FE-C7DDCA3330BF}" dt="2022-05-09T20:47:33.826" v="655"/>
          <ac:graphicFrameMkLst>
            <pc:docMk/>
            <pc:sldMk cId="3440951814" sldId="2147309173"/>
            <ac:graphicFrameMk id="4" creationId="{0BF5E5A0-C4E0-49B9-884C-8FC14DBC23FC}"/>
          </ac:graphicFrameMkLst>
        </pc:graphicFrameChg>
      </pc:sldChg>
      <pc:sldChg chg="modSp mod">
        <pc:chgData name="Horvei, Christina" userId="cd24bc57-60b2-4e37-aa14-cf0aa018956c" providerId="ADAL" clId="{913F0EFD-FE20-4191-80FE-C7DDCA3330BF}" dt="2022-05-09T20:53:16.670" v="717" actId="1036"/>
        <pc:sldMkLst>
          <pc:docMk/>
          <pc:sldMk cId="225437982" sldId="2147309175"/>
        </pc:sldMkLst>
        <pc:spChg chg="mod">
          <ac:chgData name="Horvei, Christina" userId="cd24bc57-60b2-4e37-aa14-cf0aa018956c" providerId="ADAL" clId="{913F0EFD-FE20-4191-80FE-C7DDCA3330BF}" dt="2022-05-09T20:53:16.670" v="717" actId="1036"/>
          <ac:spMkLst>
            <pc:docMk/>
            <pc:sldMk cId="225437982" sldId="2147309175"/>
            <ac:spMk id="4" creationId="{3A815C49-A948-4978-9A49-C6BC506A3EC1}"/>
          </ac:spMkLst>
        </pc:spChg>
        <pc:spChg chg="mod">
          <ac:chgData name="Horvei, Christina" userId="cd24bc57-60b2-4e37-aa14-cf0aa018956c" providerId="ADAL" clId="{913F0EFD-FE20-4191-80FE-C7DDCA3330BF}" dt="2022-05-09T20:53:16.670" v="717" actId="1036"/>
          <ac:spMkLst>
            <pc:docMk/>
            <pc:sldMk cId="225437982" sldId="2147309175"/>
            <ac:spMk id="6" creationId="{E2E9A47A-430A-473E-8C91-56E7D86E3646}"/>
          </ac:spMkLst>
        </pc:spChg>
        <pc:spChg chg="mod">
          <ac:chgData name="Horvei, Christina" userId="cd24bc57-60b2-4e37-aa14-cf0aa018956c" providerId="ADAL" clId="{913F0EFD-FE20-4191-80FE-C7DDCA3330BF}" dt="2022-05-09T20:53:16.670" v="717" actId="1036"/>
          <ac:spMkLst>
            <pc:docMk/>
            <pc:sldMk cId="225437982" sldId="2147309175"/>
            <ac:spMk id="8" creationId="{86B5E94D-3D1C-4589-9FD3-1EDB8064897E}"/>
          </ac:spMkLst>
        </pc:spChg>
        <pc:spChg chg="mod">
          <ac:chgData name="Horvei, Christina" userId="cd24bc57-60b2-4e37-aa14-cf0aa018956c" providerId="ADAL" clId="{913F0EFD-FE20-4191-80FE-C7DDCA3330BF}" dt="2022-05-09T20:53:16.670" v="717" actId="1036"/>
          <ac:spMkLst>
            <pc:docMk/>
            <pc:sldMk cId="225437982" sldId="2147309175"/>
            <ac:spMk id="9" creationId="{B117E852-7A32-45E0-B410-2CEDCA5645FC}"/>
          </ac:spMkLst>
        </pc:spChg>
        <pc:spChg chg="mod">
          <ac:chgData name="Horvei, Christina" userId="cd24bc57-60b2-4e37-aa14-cf0aa018956c" providerId="ADAL" clId="{913F0EFD-FE20-4191-80FE-C7DDCA3330BF}" dt="2022-05-09T20:53:16.670" v="717" actId="1036"/>
          <ac:spMkLst>
            <pc:docMk/>
            <pc:sldMk cId="225437982" sldId="2147309175"/>
            <ac:spMk id="14" creationId="{68FED559-C21C-4381-B33E-3ED00A8EC95F}"/>
          </ac:spMkLst>
        </pc:spChg>
        <pc:spChg chg="mod">
          <ac:chgData name="Horvei, Christina" userId="cd24bc57-60b2-4e37-aa14-cf0aa018956c" providerId="ADAL" clId="{913F0EFD-FE20-4191-80FE-C7DDCA3330BF}" dt="2022-05-09T20:53:16.670" v="717" actId="1036"/>
          <ac:spMkLst>
            <pc:docMk/>
            <pc:sldMk cId="225437982" sldId="2147309175"/>
            <ac:spMk id="15" creationId="{67723FF5-266B-4677-A733-5EC77493D08A}"/>
          </ac:spMkLst>
        </pc:spChg>
        <pc:grpChg chg="mod">
          <ac:chgData name="Horvei, Christina" userId="cd24bc57-60b2-4e37-aa14-cf0aa018956c" providerId="ADAL" clId="{913F0EFD-FE20-4191-80FE-C7DDCA3330BF}" dt="2022-05-09T20:53:16.670" v="717" actId="1036"/>
          <ac:grpSpMkLst>
            <pc:docMk/>
            <pc:sldMk cId="225437982" sldId="2147309175"/>
            <ac:grpSpMk id="41" creationId="{640B25E3-DF68-4F56-A6A8-D850B55CD417}"/>
          </ac:grpSpMkLst>
        </pc:grpChg>
        <pc:grpChg chg="mod">
          <ac:chgData name="Horvei, Christina" userId="cd24bc57-60b2-4e37-aa14-cf0aa018956c" providerId="ADAL" clId="{913F0EFD-FE20-4191-80FE-C7DDCA3330BF}" dt="2022-05-09T20:53:16.670" v="717" actId="1036"/>
          <ac:grpSpMkLst>
            <pc:docMk/>
            <pc:sldMk cId="225437982" sldId="2147309175"/>
            <ac:grpSpMk id="47" creationId="{0E77ACF6-CFDA-4685-8B93-CDED278E7377}"/>
          </ac:grpSpMkLst>
        </pc:grpChg>
        <pc:grpChg chg="mod">
          <ac:chgData name="Horvei, Christina" userId="cd24bc57-60b2-4e37-aa14-cf0aa018956c" providerId="ADAL" clId="{913F0EFD-FE20-4191-80FE-C7DDCA3330BF}" dt="2022-05-09T20:53:16.670" v="717" actId="1036"/>
          <ac:grpSpMkLst>
            <pc:docMk/>
            <pc:sldMk cId="225437982" sldId="2147309175"/>
            <ac:grpSpMk id="50" creationId="{C6B934D9-B857-47AE-A2B7-00BF1CC75F12}"/>
          </ac:grpSpMkLst>
        </pc:grpChg>
      </pc:sldChg>
      <pc:sldChg chg="modSp mod modNotesTx">
        <pc:chgData name="Horvei, Christina" userId="cd24bc57-60b2-4e37-aa14-cf0aa018956c" providerId="ADAL" clId="{913F0EFD-FE20-4191-80FE-C7DDCA3330BF}" dt="2022-05-09T12:44:49.441" v="411" actId="20577"/>
        <pc:sldMkLst>
          <pc:docMk/>
          <pc:sldMk cId="1970137262" sldId="2147309176"/>
        </pc:sldMkLst>
        <pc:spChg chg="mod">
          <ac:chgData name="Horvei, Christina" userId="cd24bc57-60b2-4e37-aa14-cf0aa018956c" providerId="ADAL" clId="{913F0EFD-FE20-4191-80FE-C7DDCA3330BF}" dt="2022-05-09T12:36:28.395" v="310" actId="20577"/>
          <ac:spMkLst>
            <pc:docMk/>
            <pc:sldMk cId="1970137262" sldId="2147309176"/>
            <ac:spMk id="13" creationId="{53FA27CD-88CE-4CFB-8FEA-F68BA4BD6457}"/>
          </ac:spMkLst>
        </pc:spChg>
        <pc:spChg chg="mod">
          <ac:chgData name="Horvei, Christina" userId="cd24bc57-60b2-4e37-aa14-cf0aa018956c" providerId="ADAL" clId="{913F0EFD-FE20-4191-80FE-C7DDCA3330BF}" dt="2022-05-09T12:36:52.110" v="315" actId="20577"/>
          <ac:spMkLst>
            <pc:docMk/>
            <pc:sldMk cId="1970137262" sldId="2147309176"/>
            <ac:spMk id="16" creationId="{5F42E835-B156-43EF-808A-BB7936EC11EC}"/>
          </ac:spMkLst>
        </pc:spChg>
      </pc:sldChg>
      <pc:sldChg chg="modSp add">
        <pc:chgData name="Horvei, Christina" userId="cd24bc57-60b2-4e37-aa14-cf0aa018956c" providerId="ADAL" clId="{913F0EFD-FE20-4191-80FE-C7DDCA3330BF}" dt="2022-05-10T08:25:11.357" v="974"/>
        <pc:sldMkLst>
          <pc:docMk/>
          <pc:sldMk cId="4172570166" sldId="2147309177"/>
        </pc:sldMkLst>
        <pc:spChg chg="mod">
          <ac:chgData name="Horvei, Christina" userId="cd24bc57-60b2-4e37-aa14-cf0aa018956c" providerId="ADAL" clId="{913F0EFD-FE20-4191-80FE-C7DDCA3330BF}" dt="2022-05-10T08:25:11.357" v="974"/>
          <ac:spMkLst>
            <pc:docMk/>
            <pc:sldMk cId="4172570166" sldId="2147309177"/>
            <ac:spMk id="2" creationId="{09794632-94F0-451D-972B-025EC8E86D2F}"/>
          </ac:spMkLst>
        </pc:spChg>
        <pc:grpChg chg="mod">
          <ac:chgData name="Horvei, Christina" userId="cd24bc57-60b2-4e37-aa14-cf0aa018956c" providerId="ADAL" clId="{913F0EFD-FE20-4191-80FE-C7DDCA3330BF}" dt="2022-05-10T08:25:11.357" v="974"/>
          <ac:grpSpMkLst>
            <pc:docMk/>
            <pc:sldMk cId="4172570166" sldId="2147309177"/>
            <ac:grpSpMk id="1" creationId="{00000000-0000-0000-0000-000000000000}"/>
          </ac:grpSpMkLst>
        </pc:grpChg>
        <pc:graphicFrameChg chg="mod">
          <ac:chgData name="Horvei, Christina" userId="cd24bc57-60b2-4e37-aa14-cf0aa018956c" providerId="ADAL" clId="{913F0EFD-FE20-4191-80FE-C7DDCA3330BF}" dt="2022-05-10T08:25:11.357" v="974"/>
          <ac:graphicFrameMkLst>
            <pc:docMk/>
            <pc:sldMk cId="4172570166" sldId="2147309177"/>
            <ac:graphicFrameMk id="6" creationId="{D05A046F-C2A3-4431-9059-86CB6D68D804}"/>
          </ac:graphicFrameMkLst>
        </pc:graphicFrameChg>
        <pc:picChg chg="mod">
          <ac:chgData name="Horvei, Christina" userId="cd24bc57-60b2-4e37-aa14-cf0aa018956c" providerId="ADAL" clId="{913F0EFD-FE20-4191-80FE-C7DDCA3330BF}" dt="2022-05-10T08:25:11.357" v="974"/>
          <ac:picMkLst>
            <pc:docMk/>
            <pc:sldMk cId="4172570166" sldId="2147309177"/>
            <ac:picMk id="4" creationId="{E1926C42-1E95-42F2-92E2-23C6EC6ECC55}"/>
          </ac:picMkLst>
        </pc:picChg>
        <pc:picChg chg="mod">
          <ac:chgData name="Horvei, Christina" userId="cd24bc57-60b2-4e37-aa14-cf0aa018956c" providerId="ADAL" clId="{913F0EFD-FE20-4191-80FE-C7DDCA3330BF}" dt="2022-05-10T08:25:11.357" v="974"/>
          <ac:picMkLst>
            <pc:docMk/>
            <pc:sldMk cId="4172570166" sldId="2147309177"/>
            <ac:picMk id="8" creationId="{A4E14158-7A29-4054-888A-CAE64B20946A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1DF8443-3C72-40AB-B7EA-888C701B667F}" type="datetimeFigureOut">
              <a:rPr lang="nb-NO" smtClean="0"/>
              <a:t>12.05.2022</a:t>
            </a:fld>
            <a:endParaRPr lang="nb-NO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AE073E2-DE77-4445-980F-3DE415846DB5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6607850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2888195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1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3005332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1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8374827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1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136436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1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002789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477451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br>
              <a:rPr lang="nb-NO" dirty="0"/>
            </a:br>
            <a:br>
              <a:rPr lang="nb-NO" dirty="0"/>
            </a:br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8001453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EC1D193-156D-49E0-8F8B-B7BDA735AEBD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462615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Google Shape;60;g85e9aebfd8_0_403:notes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1" name="Google Shape;61;g85e9aebfd8_0_403:notes"/>
          <p:cNvSpPr txBox="1">
            <a:spLocks noGrp="1"/>
          </p:cNvSpPr>
          <p:nvPr>
            <p:ph type="body" idx="1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8748734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2579187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35526226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1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1448845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1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810066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.xml"/><Relationship Id="rId4" Type="http://schemas.openxmlformats.org/officeDocument/2006/relationships/image" Target="../media/image5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368315" y="2008061"/>
            <a:ext cx="7772400" cy="675821"/>
          </a:xfr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368315" y="2733866"/>
            <a:ext cx="7772400" cy="131445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10001595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9838506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03183196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Google Shape;15;p3"/>
          <p:cNvSpPr txBox="1">
            <a:spLocks noGrp="1"/>
          </p:cNvSpPr>
          <p:nvPr>
            <p:ph type="title"/>
          </p:nvPr>
        </p:nvSpPr>
        <p:spPr>
          <a:xfrm>
            <a:off x="311700" y="2150850"/>
            <a:ext cx="8520600" cy="841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1pPr>
            <a:lvl2pPr lvl="1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2pPr>
            <a:lvl3pPr lvl="2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3pPr>
            <a:lvl4pPr lvl="3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4pPr>
            <a:lvl5pPr lvl="4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5pPr>
            <a:lvl6pPr lvl="5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6pPr>
            <a:lvl7pPr lvl="6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7pPr>
            <a:lvl8pPr lvl="7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8pPr>
            <a:lvl9pPr lvl="8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9pPr>
          </a:lstStyle>
          <a:p>
            <a:endParaRPr/>
          </a:p>
        </p:txBody>
      </p:sp>
      <p:sp>
        <p:nvSpPr>
          <p:cNvPr id="16" name="Google Shape;16;p3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70662404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4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189" lvl="0" indent="-342892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378" lvl="1" indent="-317492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566" lvl="2" indent="-317492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754" lvl="3" indent="-317492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5943" lvl="4" indent="-317492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132" lvl="5" indent="-317492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320" lvl="6" indent="-317492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509" lvl="7" indent="-317492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697" lvl="8" indent="-317492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20" name="Google Shape;20;p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24259835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 and two columns"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Google Shape;22;p5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3" name="Google Shape;23;p5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39999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189" lvl="0" indent="-317492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378" lvl="1" indent="-304793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566" lvl="2" indent="-304793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754" lvl="3" indent="-304793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5943" lvl="4" indent="-304793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132" lvl="5" indent="-304793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320" lvl="6" indent="-304793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509" lvl="7" indent="-304793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697" lvl="8" indent="-304793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4" name="Google Shape;24;p5"/>
          <p:cNvSpPr txBox="1">
            <a:spLocks noGrp="1"/>
          </p:cNvSpPr>
          <p:nvPr>
            <p:ph type="body" idx="2"/>
          </p:nvPr>
        </p:nvSpPr>
        <p:spPr>
          <a:xfrm>
            <a:off x="4832400" y="1152475"/>
            <a:ext cx="39999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189" lvl="0" indent="-317492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378" lvl="1" indent="-304793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566" lvl="2" indent="-304793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754" lvl="3" indent="-304793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5943" lvl="4" indent="-304793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132" lvl="5" indent="-304793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320" lvl="6" indent="-304793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509" lvl="7" indent="-304793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697" lvl="8" indent="-304793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5" name="Google Shape;25;p5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57524531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Google Shape;27;p6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8" name="Google Shape;28;p6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64580837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 column text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7"/>
          <p:cNvSpPr txBox="1">
            <a:spLocks noGrp="1"/>
          </p:cNvSpPr>
          <p:nvPr>
            <p:ph type="title"/>
          </p:nvPr>
        </p:nvSpPr>
        <p:spPr>
          <a:xfrm>
            <a:off x="311700" y="555600"/>
            <a:ext cx="2808000" cy="755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31" name="Google Shape;31;p7"/>
          <p:cNvSpPr txBox="1">
            <a:spLocks noGrp="1"/>
          </p:cNvSpPr>
          <p:nvPr>
            <p:ph type="body" idx="1"/>
          </p:nvPr>
        </p:nvSpPr>
        <p:spPr>
          <a:xfrm>
            <a:off x="311700" y="1389600"/>
            <a:ext cx="2808000" cy="3179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189" lvl="0" indent="-304793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1pPr>
            <a:lvl2pPr marL="914378" lvl="1" indent="-304793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566" lvl="2" indent="-304793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754" lvl="3" indent="-304793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5943" lvl="4" indent="-304793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132" lvl="5" indent="-304793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320" lvl="6" indent="-304793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509" lvl="7" indent="-304793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697" lvl="8" indent="-304793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2" name="Google Shape;32;p7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07842894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 point"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Google Shape;34;p8"/>
          <p:cNvSpPr txBox="1">
            <a:spLocks noGrp="1"/>
          </p:cNvSpPr>
          <p:nvPr>
            <p:ph type="title"/>
          </p:nvPr>
        </p:nvSpPr>
        <p:spPr>
          <a:xfrm>
            <a:off x="490250" y="450150"/>
            <a:ext cx="6367800" cy="4090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35" name="Google Shape;35;p8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231876740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 title and description"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9"/>
          <p:cNvSpPr/>
          <p:nvPr/>
        </p:nvSpPr>
        <p:spPr>
          <a:xfrm>
            <a:off x="4572000" y="-125"/>
            <a:ext cx="4572000" cy="51435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38" name="Google Shape;38;p9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1pPr>
            <a:lvl2pPr lvl="1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39" name="Google Shape;39;p9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40" name="Google Shape;40;p9"/>
          <p:cNvSpPr txBox="1">
            <a:spLocks noGrp="1"/>
          </p:cNvSpPr>
          <p:nvPr>
            <p:ph type="body" idx="2"/>
          </p:nvPr>
        </p:nvSpPr>
        <p:spPr>
          <a:xfrm>
            <a:off x="4939500" y="724075"/>
            <a:ext cx="3837000" cy="369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457189" lvl="0" indent="-342892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378" lvl="1" indent="-317492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566" lvl="2" indent="-317492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754" lvl="3" indent="-317492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5943" lvl="4" indent="-317492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132" lvl="5" indent="-317492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320" lvl="6" indent="-317492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509" lvl="7" indent="-317492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697" lvl="8" indent="-317492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1" name="Google Shape;41;p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264966566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Google Shape;43;p10"/>
          <p:cNvSpPr txBox="1">
            <a:spLocks noGrp="1"/>
          </p:cNvSpPr>
          <p:nvPr>
            <p:ph type="body" idx="1"/>
          </p:nvPr>
        </p:nvSpPr>
        <p:spPr>
          <a:xfrm>
            <a:off x="311700" y="4230575"/>
            <a:ext cx="5998800" cy="60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457189" lvl="0" indent="-22859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</a:lstStyle>
          <a:p>
            <a:endParaRPr/>
          </a:p>
        </p:txBody>
      </p:sp>
      <p:sp>
        <p:nvSpPr>
          <p:cNvPr id="44" name="Google Shape;44;p10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03062640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41800" y="2305050"/>
            <a:ext cx="647700" cy="523875"/>
          </a:xfrm>
          <a:prstGeom prst="rect">
            <a:avLst/>
          </a:prstGeom>
        </p:spPr>
      </p:pic>
      <p:pic>
        <p:nvPicPr>
          <p:cNvPr id="8" name="Bild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41800" y="2305050"/>
            <a:ext cx="647700" cy="523875"/>
          </a:xfrm>
          <a:prstGeom prst="rect">
            <a:avLst/>
          </a:prstGeom>
        </p:spPr>
      </p:pic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9" name="Tittel 1">
            <a:extLst>
              <a:ext uri="{FF2B5EF4-FFF2-40B4-BE49-F238E27FC236}">
                <a16:creationId xmlns:a16="http://schemas.microsoft.com/office/drawing/2014/main" id="{2344BB71-0781-BE4B-991A-D131BC6BED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573" y="205979"/>
            <a:ext cx="8381997" cy="646331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0" name="Plassholder for innhold 2">
            <a:extLst>
              <a:ext uri="{FF2B5EF4-FFF2-40B4-BE49-F238E27FC236}">
                <a16:creationId xmlns:a16="http://schemas.microsoft.com/office/drawing/2014/main" id="{8AF6411C-65FD-A24C-9C3D-9E5091552B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6573" y="928914"/>
            <a:ext cx="8381997" cy="3665709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06001982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 number">
    <p:spTree>
      <p:nvGrpSpPr>
        <p:cNvPr id="1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Google Shape;46;p11"/>
          <p:cNvSpPr txBox="1">
            <a:spLocks noGrp="1"/>
          </p:cNvSpPr>
          <p:nvPr>
            <p:ph type="title" hasCustomPrompt="1"/>
          </p:nvPr>
        </p:nvSpPr>
        <p:spPr>
          <a:xfrm>
            <a:off x="311700" y="1106125"/>
            <a:ext cx="8520600" cy="19635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1pPr>
            <a:lvl2pPr lvl="1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t>xx%</a:t>
            </a:r>
          </a:p>
        </p:txBody>
      </p:sp>
      <p:sp>
        <p:nvSpPr>
          <p:cNvPr id="47" name="Google Shape;47;p11"/>
          <p:cNvSpPr txBox="1">
            <a:spLocks noGrp="1"/>
          </p:cNvSpPr>
          <p:nvPr>
            <p:ph type="body" idx="1"/>
          </p:nvPr>
        </p:nvSpPr>
        <p:spPr>
          <a:xfrm>
            <a:off x="311700" y="3152225"/>
            <a:ext cx="8520600" cy="1300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189" lvl="0" indent="-342892" algn="ctr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378" lvl="1" indent="-317492" algn="ctr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566" lvl="2" indent="-317492" algn="ctr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754" lvl="3" indent="-317492" algn="ctr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5943" lvl="4" indent="-317492" algn="ctr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132" lvl="5" indent="-317492" algn="ctr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320" lvl="6" indent="-317492" algn="ctr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509" lvl="7" indent="-317492" algn="ctr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697" lvl="8" indent="-317492" algn="ctr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8" name="Google Shape;48;p1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43008974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368315" y="2008062"/>
            <a:ext cx="7772400" cy="646331"/>
          </a:xfrm>
          <a:prstGeom prst="rect">
            <a:avLst/>
          </a:prstGeo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368315" y="2733866"/>
            <a:ext cx="7772400" cy="131445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162725539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000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000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5" y="298339"/>
            <a:ext cx="8418747" cy="648512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1385" y="1010266"/>
            <a:ext cx="8418747" cy="3613774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5956424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323439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241294" y="4815936"/>
            <a:ext cx="426966" cy="273844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algn="r"/>
            <a:fld id="{91853A39-49B3-554A-AE82-85611CEBD8E3}" type="slidenum">
              <a:rPr lang="nb-NO" smtClean="0">
                <a:latin typeface="Arial"/>
                <a:cs typeface="Arial"/>
              </a:rPr>
              <a:pPr algn="r"/>
              <a:t>‹#›</a:t>
            </a:fld>
            <a:endParaRPr lang="nb-NO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8218756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57751445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959970DA-EE83-6D4C-A7D9-242707344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19" y="205980"/>
            <a:ext cx="8229600" cy="646331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22250DC5-D43E-DF47-8946-580345545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80220" y="1444343"/>
            <a:ext cx="4040188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4938533B-98B9-FE49-BD38-3FE354B5DB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468046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AAE60141-BB9F-7A45-AD28-419E734080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468046" y="1444343"/>
            <a:ext cx="4041775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DE388575-68AB-9547-8F46-F2D9AF39D5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0219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</p:spTree>
    <p:extLst>
      <p:ext uri="{BB962C8B-B14F-4D97-AF65-F5344CB8AC3E}">
        <p14:creationId xmlns:p14="http://schemas.microsoft.com/office/powerpoint/2010/main" val="231757792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96861585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1020294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2" y="368439"/>
            <a:ext cx="3008313" cy="707886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04789"/>
            <a:ext cx="5111750" cy="438983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2" y="1076327"/>
            <a:ext cx="3008313" cy="35182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96899307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3625395"/>
            <a:ext cx="5486400" cy="40011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025504"/>
            <a:ext cx="5486400" cy="6036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9746638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98246049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35996000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7394139" y="205980"/>
            <a:ext cx="1292662" cy="4388644"/>
          </a:xfrm>
          <a:prstGeom prst="rect">
            <a:avLst/>
          </a:prstGeo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05980"/>
            <a:ext cx="6019800" cy="4388644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66277751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 page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768277"/>
              </p:ext>
            </p:ext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5598401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3729142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E56B820D-AB7F-5A44-8020-5D09944AA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19" y="205979"/>
            <a:ext cx="8229600" cy="646331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AE7B768E-548A-B44A-978C-328D3FD0988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80219" y="1444342"/>
            <a:ext cx="4040188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37E158BE-6530-394F-B377-3FE8EA1DC6D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468045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9F076E42-9075-F143-9FC0-531C50D5489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468045" y="1444342"/>
            <a:ext cx="4041775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BF3EDB8E-E4B3-2B49-9493-A3FEF0A85B7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0218" y="964521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7022366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1722496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497185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5964862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5322368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oleObject" Target="../embeddings/oleObject2.bin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16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theme" Target="../theme/theme3.xml"/><Relationship Id="rId18" Type="http://schemas.openxmlformats.org/officeDocument/2006/relationships/image" Target="../media/image4.jpeg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2.xml"/><Relationship Id="rId16" Type="http://schemas.openxmlformats.org/officeDocument/2006/relationships/oleObject" Target="../embeddings/oleObject3.bin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5" Type="http://schemas.openxmlformats.org/officeDocument/2006/relationships/tags" Target="../tags/tag5.xml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4394623-160E-4BDA-8166-722D8E8F92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8278734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4" progId="TCLayout.ActiveDocument.1">
                  <p:embed/>
                </p:oleObj>
              </mc:Choice>
              <mc:Fallback>
                <p:oleObj name="think-cell Slide" r:id="rId14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4394623-160E-4BDA-8166-722D8E8F92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57200" y="304299"/>
            <a:ext cx="8229600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57200" y="1025501"/>
            <a:ext cx="8229600" cy="38137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5" name="Bilde 4" descr="sirkler.jpg"/>
          <p:cNvPicPr>
            <a:picLocks noChangeAspect="1"/>
          </p:cNvPicPr>
          <p:nvPr userDrawn="1"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451"/>
          <a:stretch/>
        </p:blipFill>
        <p:spPr>
          <a:xfrm>
            <a:off x="7993703" y="379170"/>
            <a:ext cx="1151994" cy="1148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779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457200" rtl="0" eaLnBrk="1" latinLnBrk="0" hangingPunct="1">
        <a:spcBef>
          <a:spcPct val="0"/>
        </a:spcBef>
        <a:buNone/>
        <a:defRPr sz="36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37D98E1-082E-4B16-B42E-BD7F5F95A0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849633591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473" imgH="473" progId="TCLayout.ActiveDocument.1">
                  <p:embed/>
                </p:oleObj>
              </mc:Choice>
              <mc:Fallback>
                <p:oleObj name="think-cell Slide" r:id="rId12" imgW="473" imgH="4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37D98E1-082E-4B16-B42E-BD7F5F95A0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Char char="●"/>
              <a:defRPr sz="1800">
                <a:solidFill>
                  <a:schemeClr val="dk2"/>
                </a:solidFill>
              </a:defRPr>
            </a:lvl1pPr>
            <a:lvl2pPr marL="914400" lvl="1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2pPr>
            <a:lvl3pPr marL="1371600" lvl="2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3pPr>
            <a:lvl4pPr marL="1828800" lvl="3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4pPr>
            <a:lvl5pPr marL="2286000" lvl="4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5pPr>
            <a:lvl6pPr marL="2743200" lvl="5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6pPr>
            <a:lvl7pPr marL="3200400" lvl="6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7pPr>
            <a:lvl8pPr marL="3657600" lvl="7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8pPr>
            <a:lvl9pPr marL="4114800" lvl="8" indent="-31750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>
              <a:buNone/>
              <a:defRPr sz="1000">
                <a:solidFill>
                  <a:schemeClr val="dk2"/>
                </a:solidFill>
              </a:defRPr>
            </a:lvl1pPr>
            <a:lvl2pPr lvl="1" algn="r">
              <a:buNone/>
              <a:defRPr sz="1000">
                <a:solidFill>
                  <a:schemeClr val="dk2"/>
                </a:solidFill>
              </a:defRPr>
            </a:lvl2pPr>
            <a:lvl3pPr lvl="2" algn="r">
              <a:buNone/>
              <a:defRPr sz="1000">
                <a:solidFill>
                  <a:schemeClr val="dk2"/>
                </a:solidFill>
              </a:defRPr>
            </a:lvl3pPr>
            <a:lvl4pPr lvl="3" algn="r">
              <a:buNone/>
              <a:defRPr sz="1000">
                <a:solidFill>
                  <a:schemeClr val="dk2"/>
                </a:solidFill>
              </a:defRPr>
            </a:lvl4pPr>
            <a:lvl5pPr lvl="4" algn="r">
              <a:buNone/>
              <a:defRPr sz="1000">
                <a:solidFill>
                  <a:schemeClr val="dk2"/>
                </a:solidFill>
              </a:defRPr>
            </a:lvl5pPr>
            <a:lvl6pPr lvl="5" algn="r">
              <a:buNone/>
              <a:defRPr sz="1000">
                <a:solidFill>
                  <a:schemeClr val="dk2"/>
                </a:solidFill>
              </a:defRPr>
            </a:lvl6pPr>
            <a:lvl7pPr lvl="6" algn="r">
              <a:buNone/>
              <a:defRPr sz="1000">
                <a:solidFill>
                  <a:schemeClr val="dk2"/>
                </a:solidFill>
              </a:defRPr>
            </a:lvl7pPr>
            <a:lvl8pPr lvl="7" algn="r">
              <a:buNone/>
              <a:defRPr sz="1000">
                <a:solidFill>
                  <a:schemeClr val="dk2"/>
                </a:solidFill>
              </a:defRPr>
            </a:lvl8pPr>
            <a:lvl9pPr lvl="8" algn="r">
              <a:buNone/>
              <a:defRPr sz="1000">
                <a:solidFill>
                  <a:schemeClr val="dk2"/>
                </a:solidFill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B10B334-2B5A-4E2C-A54F-C400622B08F6}"/>
              </a:ext>
            </a:extLst>
          </p:cNvPr>
          <p:cNvSpPr txBox="1"/>
          <p:nvPr userDrawn="1"/>
        </p:nvSpPr>
        <p:spPr>
          <a:xfrm>
            <a:off x="228601" y="4663217"/>
            <a:ext cx="1421027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675" dirty="0">
                <a:solidFill>
                  <a:schemeClr val="bg1">
                    <a:lumMod val="50000"/>
                  </a:schemeClr>
                </a:solidFill>
                <a:latin typeface="Poppins"/>
              </a:rPr>
              <a:t>Roller Behov til betaling </a:t>
            </a:r>
          </a:p>
          <a:p>
            <a:r>
              <a:rPr lang="nb-NO" sz="675" dirty="0" err="1">
                <a:solidFill>
                  <a:schemeClr val="bg1">
                    <a:lumMod val="50000"/>
                  </a:schemeClr>
                </a:solidFill>
                <a:latin typeface="Poppins"/>
              </a:rPr>
              <a:t>Ver</a:t>
            </a:r>
            <a:r>
              <a:rPr lang="nb-NO" sz="675" dirty="0">
                <a:solidFill>
                  <a:schemeClr val="bg1">
                    <a:lumMod val="50000"/>
                  </a:schemeClr>
                </a:solidFill>
                <a:latin typeface="Poppins"/>
              </a:rPr>
              <a:t>. 1.1, 06.11.2020</a:t>
            </a:r>
          </a:p>
        </p:txBody>
      </p:sp>
    </p:spTree>
    <p:extLst>
      <p:ext uri="{BB962C8B-B14F-4D97-AF65-F5344CB8AC3E}">
        <p14:creationId xmlns:p14="http://schemas.microsoft.com/office/powerpoint/2010/main" val="3657809457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0F553F2-CB7D-46D6-A6A5-D16CF29D07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587843601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592" imgH="591" progId="TCLayout.ActiveDocument.1">
                  <p:embed/>
                </p:oleObj>
              </mc:Choice>
              <mc:Fallback>
                <p:oleObj name="think-cell Slide" r:id="rId16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0F553F2-CB7D-46D6-A6A5-D16CF29D07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E29948F-3307-473B-885D-E9EEF3840228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36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323849" y="205980"/>
            <a:ext cx="8458815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323849" y="936523"/>
            <a:ext cx="8458815" cy="36581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AB1FCAE9-E6CF-CA49-A956-CEDD0847952D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423181" y="4800919"/>
            <a:ext cx="2520045" cy="204809"/>
          </a:xfrm>
          <a:prstGeom prst="rect">
            <a:avLst/>
          </a:prstGeom>
        </p:spPr>
      </p:pic>
      <p:sp>
        <p:nvSpPr>
          <p:cNvPr id="7" name="Plassholder for lysbildenummer 5">
            <a:extLst>
              <a:ext uri="{FF2B5EF4-FFF2-40B4-BE49-F238E27FC236}">
                <a16:creationId xmlns:a16="http://schemas.microsoft.com/office/drawing/2014/main" id="{FE08F9A8-C6B7-4BAE-BD6C-8CDE0653CD72}"/>
              </a:ext>
            </a:extLst>
          </p:cNvPr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000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000" b="0" i="0">
              <a:solidFill>
                <a:schemeClr val="tx1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241577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</p:sldLayoutIdLst>
  <p:txStyles>
    <p:titleStyle>
      <a:lvl1pPr algn="l" defTabSz="457189" rtl="0" eaLnBrk="1" latinLnBrk="0" hangingPunct="1">
        <a:spcBef>
          <a:spcPct val="0"/>
        </a:spcBef>
        <a:buNone/>
        <a:defRPr sz="36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892" indent="-342892" algn="l" defTabSz="457189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31" indent="-285743" algn="l" defTabSz="457189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1142972" indent="-228594" algn="l" defTabSz="457189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600160" indent="-228594" algn="l" defTabSz="457189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348" indent="-228594" algn="l" defTabSz="457189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5" Type="http://schemas.openxmlformats.org/officeDocument/2006/relationships/image" Target="../media/image6.jpeg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8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8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9.x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hyperlink" Target="https://universityofbergen.sharepoint.com/:b:/s/KvalitetsrammeverkokonomioglonnBOTT/EUYmLXR3Z09Hl6_JFJaRyrUBOet3U2HTHR_czQcyOQp8wQ?e=Duo0Nc" TargetMode="Externa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0.x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10" Type="http://schemas.openxmlformats.org/officeDocument/2006/relationships/image" Target="../media/image15.png"/><Relationship Id="rId4" Type="http://schemas.openxmlformats.org/officeDocument/2006/relationships/oleObject" Target="../embeddings/oleObject9.bin"/><Relationship Id="rId9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13" Type="http://schemas.openxmlformats.org/officeDocument/2006/relationships/image" Target="../media/image23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17.png"/><Relationship Id="rId12" Type="http://schemas.openxmlformats.org/officeDocument/2006/relationships/image" Target="../media/image2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6" Type="http://schemas.openxmlformats.org/officeDocument/2006/relationships/image" Target="../media/image16.png"/><Relationship Id="rId11" Type="http://schemas.openxmlformats.org/officeDocument/2006/relationships/image" Target="../media/image21.png"/><Relationship Id="rId5" Type="http://schemas.openxmlformats.org/officeDocument/2006/relationships/image" Target="../media/image1.emf"/><Relationship Id="rId10" Type="http://schemas.openxmlformats.org/officeDocument/2006/relationships/image" Target="../media/image20.png"/><Relationship Id="rId4" Type="http://schemas.openxmlformats.org/officeDocument/2006/relationships/oleObject" Target="../embeddings/oleObject10.bin"/><Relationship Id="rId9" Type="http://schemas.openxmlformats.org/officeDocument/2006/relationships/image" Target="../media/image1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376B983-217F-4B58-A01A-5B88DF36409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806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376B983-217F-4B58-A01A-5B88DF3640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517125" y="2055600"/>
            <a:ext cx="8483999" cy="646331"/>
          </a:xfrm>
        </p:spPr>
        <p:txBody>
          <a:bodyPr vert="horz"/>
          <a:lstStyle/>
          <a:p>
            <a:r>
              <a:rPr lang="nb-NO" dirty="0"/>
              <a:t>Innmelding av roller - Fagrekvirent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06083" y="2796230"/>
            <a:ext cx="7772400" cy="1314450"/>
          </a:xfrm>
        </p:spPr>
        <p:txBody>
          <a:bodyPr>
            <a:normAutofit/>
          </a:bodyPr>
          <a:lstStyle/>
          <a:p>
            <a:pPr algn="ctr"/>
            <a:r>
              <a:rPr lang="nb-NO" dirty="0"/>
              <a:t>10.05.22 | BOTT ØL Innføring </a:t>
            </a:r>
          </a:p>
        </p:txBody>
      </p:sp>
      <p:pic>
        <p:nvPicPr>
          <p:cNvPr id="12" name="Bilde 11">
            <a:extLst>
              <a:ext uri="{FF2B5EF4-FFF2-40B4-BE49-F238E27FC236}">
                <a16:creationId xmlns:a16="http://schemas.microsoft.com/office/drawing/2014/main" id="{D8F297EE-BF99-0347-94BA-EFFA5776ADA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8685" y="491687"/>
            <a:ext cx="2978398" cy="8524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310205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DB07B48-207E-432C-B213-DAE22268C5E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3339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DB07B48-207E-432C-B213-DAE22268C5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104907D-C964-4274-8D19-3C1F43220A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573" y="205979"/>
            <a:ext cx="8381997" cy="461665"/>
          </a:xfrm>
        </p:spPr>
        <p:txBody>
          <a:bodyPr vert="horz"/>
          <a:lstStyle/>
          <a:p>
            <a:r>
              <a:rPr lang="nb-NO" sz="2400" dirty="0" err="1"/>
              <a:t>Hovedendringer</a:t>
            </a:r>
            <a:r>
              <a:rPr lang="nb-NO" sz="2400" dirty="0"/>
              <a:t> fra dagens rol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5CD88BC-0B35-4BE9-8789-1D47B2454259}"/>
              </a:ext>
            </a:extLst>
          </p:cNvPr>
          <p:cNvSpPr txBox="1"/>
          <p:nvPr/>
        </p:nvSpPr>
        <p:spPr>
          <a:xfrm>
            <a:off x="1045024" y="1096607"/>
            <a:ext cx="677091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600" dirty="0"/>
              <a:t>Ingen fagrekvirenter skal lenger motta faktura (unntaksvis ved behov for å bekrefte faktura) </a:t>
            </a:r>
          </a:p>
        </p:txBody>
      </p:sp>
      <p:sp>
        <p:nvSpPr>
          <p:cNvPr id="12" name="Speech Bubble: Rectangle 11">
            <a:extLst>
              <a:ext uri="{FF2B5EF4-FFF2-40B4-BE49-F238E27FC236}">
                <a16:creationId xmlns:a16="http://schemas.microsoft.com/office/drawing/2014/main" id="{F77DD5D4-3444-40AE-895D-55DF8949EB66}"/>
              </a:ext>
            </a:extLst>
          </p:cNvPr>
          <p:cNvSpPr/>
          <p:nvPr/>
        </p:nvSpPr>
        <p:spPr>
          <a:xfrm>
            <a:off x="423334" y="1181418"/>
            <a:ext cx="493486" cy="312516"/>
          </a:xfrm>
          <a:prstGeom prst="wedgeRectCallout">
            <a:avLst/>
          </a:prstGeom>
          <a:solidFill>
            <a:srgbClr val="0D3475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3FA27CD-88CE-4CFB-8FEA-F68BA4BD6457}"/>
              </a:ext>
            </a:extLst>
          </p:cNvPr>
          <p:cNvSpPr txBox="1"/>
          <p:nvPr/>
        </p:nvSpPr>
        <p:spPr>
          <a:xfrm>
            <a:off x="1045025" y="1901773"/>
            <a:ext cx="6770915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600" dirty="0"/>
              <a:t>Fagrekvirent må ha et mer bevisst forhold til momskoder – Når varer plukkes fra eksterne kataloger vil det foreslås momskode basert på art. Må vurdere hvorvidt denne må endres </a:t>
            </a:r>
          </a:p>
          <a:p>
            <a:r>
              <a:rPr lang="nb-NO" sz="1600" dirty="0"/>
              <a:t>- </a:t>
            </a:r>
            <a:r>
              <a:rPr lang="nb-NO" sz="1400" i="1" dirty="0"/>
              <a:t>Men: </a:t>
            </a:r>
            <a:r>
              <a:rPr lang="nb-NO" sz="1400" dirty="0"/>
              <a:t>Innkjøper vil være en </a:t>
            </a:r>
            <a:r>
              <a:rPr lang="nb-NO" sz="1400" dirty="0" err="1"/>
              <a:t>kvalitetssikrer</a:t>
            </a:r>
            <a:endParaRPr lang="nb-NO" sz="1600" dirty="0"/>
          </a:p>
        </p:txBody>
      </p:sp>
      <p:sp>
        <p:nvSpPr>
          <p:cNvPr id="14" name="Speech Bubble: Rectangle 13">
            <a:extLst>
              <a:ext uri="{FF2B5EF4-FFF2-40B4-BE49-F238E27FC236}">
                <a16:creationId xmlns:a16="http://schemas.microsoft.com/office/drawing/2014/main" id="{B396B5A3-FC92-4B80-BBA1-6FFED5926AD0}"/>
              </a:ext>
            </a:extLst>
          </p:cNvPr>
          <p:cNvSpPr/>
          <p:nvPr/>
        </p:nvSpPr>
        <p:spPr>
          <a:xfrm>
            <a:off x="428172" y="2182912"/>
            <a:ext cx="493486" cy="312516"/>
          </a:xfrm>
          <a:prstGeom prst="wedgeRectCallout">
            <a:avLst/>
          </a:prstGeom>
          <a:solidFill>
            <a:srgbClr val="0D3475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15" name="Speech Bubble: Rectangle 14">
            <a:extLst>
              <a:ext uri="{FF2B5EF4-FFF2-40B4-BE49-F238E27FC236}">
                <a16:creationId xmlns:a16="http://schemas.microsoft.com/office/drawing/2014/main" id="{BA49997C-3494-4E14-B47E-042B5510BBD8}"/>
              </a:ext>
            </a:extLst>
          </p:cNvPr>
          <p:cNvSpPr/>
          <p:nvPr/>
        </p:nvSpPr>
        <p:spPr>
          <a:xfrm>
            <a:off x="413658" y="3184406"/>
            <a:ext cx="493486" cy="312516"/>
          </a:xfrm>
          <a:prstGeom prst="wedgeRectCallout">
            <a:avLst/>
          </a:prstGeom>
          <a:solidFill>
            <a:srgbClr val="0D3475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F42E835-B156-43EF-808A-BB7936EC11EC}"/>
              </a:ext>
            </a:extLst>
          </p:cNvPr>
          <p:cNvSpPr txBox="1"/>
          <p:nvPr/>
        </p:nvSpPr>
        <p:spPr>
          <a:xfrm>
            <a:off x="1045026" y="3158368"/>
            <a:ext cx="6770915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nb-NO" sz="1600" dirty="0"/>
              <a:t>Mulighet for å </a:t>
            </a:r>
            <a:r>
              <a:rPr lang="nb-NO" sz="1600"/>
              <a:t>foreta avrop fra plan</a:t>
            </a:r>
            <a:r>
              <a:rPr lang="nb-NO" sz="1600" dirty="0"/>
              <a:t> (kjøp via forhåndsgodkjent plan/budsjett)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9F0D0C5-402E-4407-9234-798BB0D00065}"/>
              </a:ext>
            </a:extLst>
          </p:cNvPr>
          <p:cNvSpPr txBox="1"/>
          <p:nvPr/>
        </p:nvSpPr>
        <p:spPr>
          <a:xfrm>
            <a:off x="1045027" y="4159862"/>
            <a:ext cx="677091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600" dirty="0"/>
              <a:t>Kreves hyppig bruk av systemet for å være god (ca. 20 %)</a:t>
            </a:r>
          </a:p>
        </p:txBody>
      </p:sp>
      <p:sp>
        <p:nvSpPr>
          <p:cNvPr id="18" name="Speech Bubble: Rectangle 17">
            <a:extLst>
              <a:ext uri="{FF2B5EF4-FFF2-40B4-BE49-F238E27FC236}">
                <a16:creationId xmlns:a16="http://schemas.microsoft.com/office/drawing/2014/main" id="{B9299F84-6EB8-4309-AE33-6EE76D28032E}"/>
              </a:ext>
            </a:extLst>
          </p:cNvPr>
          <p:cNvSpPr/>
          <p:nvPr/>
        </p:nvSpPr>
        <p:spPr>
          <a:xfrm>
            <a:off x="418496" y="4185900"/>
            <a:ext cx="493486" cy="312516"/>
          </a:xfrm>
          <a:prstGeom prst="wedgeRectCallout">
            <a:avLst/>
          </a:prstGeom>
          <a:solidFill>
            <a:srgbClr val="0D3475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7013726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5FD3C8-9491-4823-8333-44B69CC483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nb-NO"/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94C2FC-6200-440B-85E5-FF627608D03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52488" y="3602725"/>
            <a:ext cx="6435960" cy="1628238"/>
          </a:xfrm>
        </p:spPr>
        <p:txBody>
          <a:bodyPr>
            <a:normAutofit/>
          </a:bodyPr>
          <a:lstStyle/>
          <a:p>
            <a:pPr lvl="1"/>
            <a:endParaRPr lang="nb-NO"/>
          </a:p>
          <a:p>
            <a:endParaRPr lang="nb-NO"/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9CEC64A9-177F-4F35-BFC9-924D072343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42507293"/>
              </p:ext>
            </p:extLst>
          </p:nvPr>
        </p:nvGraphicFramePr>
        <p:xfrm>
          <a:off x="402393" y="1275556"/>
          <a:ext cx="7700726" cy="35336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181967">
                  <a:extLst>
                    <a:ext uri="{9D8B030D-6E8A-4147-A177-3AD203B41FA5}">
                      <a16:colId xmlns:a16="http://schemas.microsoft.com/office/drawing/2014/main" val="3031343381"/>
                    </a:ext>
                  </a:extLst>
                </a:gridCol>
                <a:gridCol w="1518759">
                  <a:extLst>
                    <a:ext uri="{9D8B030D-6E8A-4147-A177-3AD203B41FA5}">
                      <a16:colId xmlns:a16="http://schemas.microsoft.com/office/drawing/2014/main" val="2136914587"/>
                    </a:ext>
                  </a:extLst>
                </a:gridCol>
              </a:tblGrid>
              <a:tr h="510571">
                <a:tc>
                  <a:txBody>
                    <a:bodyPr/>
                    <a:lstStyle/>
                    <a:p>
                      <a:r>
                        <a:rPr lang="nb-NO" dirty="0">
                          <a:solidFill>
                            <a:schemeClr val="tx1"/>
                          </a:solidFill>
                        </a:rPr>
                        <a:t>Velkommen, mål for møtet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dirty="0">
                          <a:solidFill>
                            <a:schemeClr val="tx1"/>
                          </a:solidFill>
                        </a:rPr>
                        <a:t>5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7356267"/>
                  </a:ext>
                </a:extLst>
              </a:tr>
              <a:tr h="403939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dirty="0">
                          <a:solidFill>
                            <a:schemeClr val="tx1"/>
                          </a:solidFill>
                        </a:rPr>
                        <a:t>Om fagrekvirentrollen</a:t>
                      </a:r>
                    </a:p>
                    <a:p>
                      <a:pPr marL="285750" marR="0" lvl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nb-NO" sz="1600" dirty="0">
                          <a:solidFill>
                            <a:schemeClr val="tx1"/>
                          </a:solidFill>
                        </a:rPr>
                        <a:t>Rollebeskrivelse og formålet med rollen </a:t>
                      </a:r>
                    </a:p>
                    <a:p>
                      <a:pPr marL="285750" marR="0" lvl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nb-NO" sz="1600" dirty="0">
                          <a:solidFill>
                            <a:schemeClr val="tx1"/>
                          </a:solidFill>
                        </a:rPr>
                        <a:t>Prosessflyten for fagrekvirent</a:t>
                      </a:r>
                    </a:p>
                    <a:p>
                      <a:pPr marL="285750" marR="0" lvl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nb-NO" sz="1600" dirty="0" err="1">
                          <a:solidFill>
                            <a:schemeClr val="tx1"/>
                          </a:solidFill>
                        </a:rPr>
                        <a:t>Hovedendringer</a:t>
                      </a:r>
                      <a:r>
                        <a:rPr lang="nb-NO" sz="1600" dirty="0">
                          <a:solidFill>
                            <a:schemeClr val="tx1"/>
                          </a:solidFill>
                        </a:rPr>
                        <a:t> fra dagens rolle på NTNU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dirty="0">
                          <a:solidFill>
                            <a:schemeClr val="tx1"/>
                          </a:solidFill>
                        </a:rPr>
                        <a:t>20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5385281"/>
                  </a:ext>
                </a:extLst>
              </a:tr>
              <a:tr h="639571">
                <a:tc>
                  <a:txBody>
                    <a:bodyPr/>
                    <a:lstStyle/>
                    <a:p>
                      <a:r>
                        <a:rPr lang="nb-NO" sz="1600" dirty="0">
                          <a:solidFill>
                            <a:schemeClr val="bg1"/>
                          </a:solidFill>
                        </a:rPr>
                        <a:t>Tips til veien videre – hvordan jobbe med innplassering</a:t>
                      </a:r>
                    </a:p>
                  </a:txBody>
                  <a:tcPr>
                    <a:solidFill>
                      <a:srgbClr val="0D347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dirty="0">
                          <a:solidFill>
                            <a:schemeClr val="bg1"/>
                          </a:solidFill>
                        </a:rPr>
                        <a:t>10 min</a:t>
                      </a:r>
                    </a:p>
                  </a:txBody>
                  <a:tcPr>
                    <a:solidFill>
                      <a:srgbClr val="0D34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1162"/>
                  </a:ext>
                </a:extLst>
              </a:tr>
              <a:tr h="677167">
                <a:tc>
                  <a:txBody>
                    <a:bodyPr/>
                    <a:lstStyle/>
                    <a:p>
                      <a:r>
                        <a:rPr lang="nb-NO" sz="1600" dirty="0"/>
                        <a:t>Spørsmål og svar - </a:t>
                      </a:r>
                      <a:r>
                        <a:rPr lang="nb-NO" sz="1600" dirty="0" err="1"/>
                        <a:t>Menti</a:t>
                      </a:r>
                      <a:endParaRPr lang="nb-NO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/>
                        <a:t>20 mi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92691380"/>
                  </a:ext>
                </a:extLst>
              </a:tr>
              <a:tr h="639571">
                <a:tc>
                  <a:txBody>
                    <a:bodyPr/>
                    <a:lstStyle/>
                    <a:p>
                      <a:r>
                        <a:rPr lang="nb-NO" sz="1600" dirty="0"/>
                        <a:t>Avslut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/>
                        <a:t>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8436815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4954088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>
            <a:extLst>
              <a:ext uri="{FF2B5EF4-FFF2-40B4-BE49-F238E27FC236}">
                <a16:creationId xmlns:a16="http://schemas.microsoft.com/office/drawing/2014/main" id="{CD0FBA75-5B1B-4306-ACE8-2F851A187D2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42072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6" name="Object 25" hidden="1">
                        <a:extLst>
                          <a:ext uri="{FF2B5EF4-FFF2-40B4-BE49-F238E27FC236}">
                            <a16:creationId xmlns:a16="http://schemas.microsoft.com/office/drawing/2014/main" id="{CD0FBA75-5B1B-4306-ACE8-2F851A187D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104907D-C964-4274-8D19-3C1F43220A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573" y="205979"/>
            <a:ext cx="8381997" cy="830997"/>
          </a:xfrm>
        </p:spPr>
        <p:txBody>
          <a:bodyPr vert="horz"/>
          <a:lstStyle/>
          <a:p>
            <a:r>
              <a:rPr lang="nb-NO" sz="2400" dirty="0"/>
              <a:t>Tips til veien videre – hvordan jobbe med innplassering</a:t>
            </a:r>
            <a:br>
              <a:rPr lang="nb-NO" sz="2400" dirty="0"/>
            </a:br>
            <a:endParaRPr lang="nb-NO" sz="2400" dirty="0"/>
          </a:p>
        </p:txBody>
      </p:sp>
      <p:sp>
        <p:nvSpPr>
          <p:cNvPr id="8" name="Rektangel 24">
            <a:extLst>
              <a:ext uri="{FF2B5EF4-FFF2-40B4-BE49-F238E27FC236}">
                <a16:creationId xmlns:a16="http://schemas.microsoft.com/office/drawing/2014/main" id="{86B5E94D-3D1C-4589-9FD3-1EDB8064897E}"/>
              </a:ext>
            </a:extLst>
          </p:cNvPr>
          <p:cNvSpPr/>
          <p:nvPr/>
        </p:nvSpPr>
        <p:spPr>
          <a:xfrm>
            <a:off x="453120" y="3020251"/>
            <a:ext cx="1187725" cy="69824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>
              <a:solidFill>
                <a:schemeClr val="tx1"/>
              </a:solidFill>
            </a:endParaRPr>
          </a:p>
        </p:txBody>
      </p:sp>
      <p:sp>
        <p:nvSpPr>
          <p:cNvPr id="9" name="Rektangel 7">
            <a:extLst>
              <a:ext uri="{FF2B5EF4-FFF2-40B4-BE49-F238E27FC236}">
                <a16:creationId xmlns:a16="http://schemas.microsoft.com/office/drawing/2014/main" id="{B117E852-7A32-45E0-B410-2CEDCA5645FC}"/>
              </a:ext>
            </a:extLst>
          </p:cNvPr>
          <p:cNvSpPr/>
          <p:nvPr/>
        </p:nvSpPr>
        <p:spPr>
          <a:xfrm>
            <a:off x="1733286" y="3008927"/>
            <a:ext cx="6448690" cy="70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219170">
              <a:buClr>
                <a:srgbClr val="000000"/>
              </a:buClr>
            </a:pPr>
            <a:r>
              <a:rPr lang="nb-NO" sz="1200" kern="0" dirty="0">
                <a:solidFill>
                  <a:srgbClr val="000000"/>
                </a:solidFill>
                <a:latin typeface="Arial"/>
                <a:sym typeface="Arial"/>
              </a:rPr>
              <a:t>Tilstrekkelig og god opplæring – både på prosess, rutiner (BOTT) og system</a:t>
            </a:r>
          </a:p>
        </p:txBody>
      </p:sp>
      <p:sp>
        <p:nvSpPr>
          <p:cNvPr id="14" name="Rektangel 7">
            <a:extLst>
              <a:ext uri="{FF2B5EF4-FFF2-40B4-BE49-F238E27FC236}">
                <a16:creationId xmlns:a16="http://schemas.microsoft.com/office/drawing/2014/main" id="{68FED559-C21C-4381-B33E-3ED00A8EC95F}"/>
              </a:ext>
            </a:extLst>
          </p:cNvPr>
          <p:cNvSpPr/>
          <p:nvPr/>
        </p:nvSpPr>
        <p:spPr>
          <a:xfrm>
            <a:off x="1724441" y="2142027"/>
            <a:ext cx="6448690" cy="6982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219170">
              <a:buClr>
                <a:srgbClr val="000000"/>
              </a:buClr>
            </a:pPr>
            <a:r>
              <a:rPr lang="nb-NO" sz="1200" kern="0" dirty="0">
                <a:solidFill>
                  <a:srgbClr val="000000"/>
                </a:solidFill>
                <a:latin typeface="Arial"/>
                <a:sym typeface="Arial"/>
              </a:rPr>
              <a:t>Mengdetrening er viktig for å bli god – fagrekvirent må raskt kunne identifisere korrekt vare og produsere en innkjøpsforespørsel. Viktig at forventet arbeidsmengde tilsier hyppig bruk av Unit4 ERP. </a:t>
            </a:r>
          </a:p>
        </p:txBody>
      </p:sp>
      <p:sp>
        <p:nvSpPr>
          <p:cNvPr id="15" name="Rektangel 24">
            <a:extLst>
              <a:ext uri="{FF2B5EF4-FFF2-40B4-BE49-F238E27FC236}">
                <a16:creationId xmlns:a16="http://schemas.microsoft.com/office/drawing/2014/main" id="{67723FF5-266B-4677-A733-5EC77493D08A}"/>
              </a:ext>
            </a:extLst>
          </p:cNvPr>
          <p:cNvSpPr/>
          <p:nvPr/>
        </p:nvSpPr>
        <p:spPr>
          <a:xfrm>
            <a:off x="444276" y="2142027"/>
            <a:ext cx="1187725" cy="69824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>
              <a:solidFill>
                <a:schemeClr val="tx1"/>
              </a:solidFill>
            </a:endParaRPr>
          </a:p>
        </p:txBody>
      </p:sp>
      <p:sp>
        <p:nvSpPr>
          <p:cNvPr id="4" name="Rektangel 7">
            <a:extLst>
              <a:ext uri="{FF2B5EF4-FFF2-40B4-BE49-F238E27FC236}">
                <a16:creationId xmlns:a16="http://schemas.microsoft.com/office/drawing/2014/main" id="{3A815C49-A948-4978-9A49-C6BC506A3EC1}"/>
              </a:ext>
            </a:extLst>
          </p:cNvPr>
          <p:cNvSpPr/>
          <p:nvPr/>
        </p:nvSpPr>
        <p:spPr>
          <a:xfrm>
            <a:off x="1724441" y="1227368"/>
            <a:ext cx="6448690" cy="71375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219170">
              <a:buClr>
                <a:srgbClr val="000000"/>
              </a:buClr>
            </a:pPr>
            <a:r>
              <a:rPr lang="nb-NO" sz="1200" kern="0" dirty="0">
                <a:solidFill>
                  <a:srgbClr val="000000"/>
                </a:solidFill>
                <a:latin typeface="Arial"/>
                <a:sym typeface="Arial"/>
              </a:rPr>
              <a:t>Sikre et godt samarbeid mellom innkjøper, prosessrådigiver og fagrevirent. Innkjøper må være tett på </a:t>
            </a:r>
            <a:r>
              <a:rPr lang="nb-NO" sz="1200" kern="0" dirty="0" err="1">
                <a:solidFill>
                  <a:srgbClr val="000000"/>
                </a:solidFill>
                <a:latin typeface="Arial"/>
                <a:sym typeface="Arial"/>
              </a:rPr>
              <a:t>fagkrekvirent</a:t>
            </a:r>
            <a:r>
              <a:rPr lang="nb-NO" sz="1200" kern="0" dirty="0">
                <a:solidFill>
                  <a:srgbClr val="000000"/>
                </a:solidFill>
                <a:latin typeface="Arial"/>
                <a:sym typeface="Arial"/>
              </a:rPr>
              <a:t> (ene) innenfor sitt koststed og bidra til at fagrekvirent blir god i rollen </a:t>
            </a:r>
          </a:p>
        </p:txBody>
      </p:sp>
      <p:sp>
        <p:nvSpPr>
          <p:cNvPr id="6" name="Rektangel 24">
            <a:extLst>
              <a:ext uri="{FF2B5EF4-FFF2-40B4-BE49-F238E27FC236}">
                <a16:creationId xmlns:a16="http://schemas.microsoft.com/office/drawing/2014/main" id="{E2E9A47A-430A-473E-8C91-56E7D86E3646}"/>
              </a:ext>
            </a:extLst>
          </p:cNvPr>
          <p:cNvSpPr/>
          <p:nvPr/>
        </p:nvSpPr>
        <p:spPr>
          <a:xfrm>
            <a:off x="453120" y="1226151"/>
            <a:ext cx="1187725" cy="7137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>
              <a:solidFill>
                <a:schemeClr val="tx1"/>
              </a:solidFill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D9BFB977-4A30-478C-B921-95082D64ABFD}"/>
              </a:ext>
            </a:extLst>
          </p:cNvPr>
          <p:cNvSpPr txBox="1"/>
          <p:nvPr/>
        </p:nvSpPr>
        <p:spPr>
          <a:xfrm>
            <a:off x="435431" y="4066102"/>
            <a:ext cx="77377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b="1" i="1" dirty="0"/>
              <a:t>Mål (på litt lengre sikt): </a:t>
            </a:r>
            <a:r>
              <a:rPr lang="nb-NO" sz="1400" i="1" dirty="0"/>
              <a:t>Mindre avhengighet mellom fag og </a:t>
            </a:r>
            <a:r>
              <a:rPr lang="nb-NO" sz="1400" i="1" dirty="0" err="1"/>
              <a:t>org.struktur</a:t>
            </a:r>
            <a:r>
              <a:rPr lang="nb-NO" sz="1400" i="1" dirty="0"/>
              <a:t> – kunne håndtere flere enheter innenfor ett fagområde. </a:t>
            </a:r>
          </a:p>
          <a:p>
            <a:endParaRPr lang="nb-NO" sz="1400" i="1" dirty="0"/>
          </a:p>
        </p:txBody>
      </p:sp>
      <p:grpSp>
        <p:nvGrpSpPr>
          <p:cNvPr id="41" name="Group 828">
            <a:extLst>
              <a:ext uri="{FF2B5EF4-FFF2-40B4-BE49-F238E27FC236}">
                <a16:creationId xmlns:a16="http://schemas.microsoft.com/office/drawing/2014/main" id="{640B25E3-DF68-4F56-A6A8-D850B55CD41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26252" y="1257397"/>
            <a:ext cx="637594" cy="635723"/>
            <a:chOff x="5042" y="3019"/>
            <a:chExt cx="341" cy="340"/>
          </a:xfrm>
          <a:solidFill>
            <a:schemeClr val="accent2"/>
          </a:solidFill>
        </p:grpSpPr>
        <p:sp>
          <p:nvSpPr>
            <p:cNvPr id="42" name="Freeform 829">
              <a:extLst>
                <a:ext uri="{FF2B5EF4-FFF2-40B4-BE49-F238E27FC236}">
                  <a16:creationId xmlns:a16="http://schemas.microsoft.com/office/drawing/2014/main" id="{3479A89D-7E84-4A50-B240-35519E9D36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26" y="3139"/>
              <a:ext cx="72" cy="156"/>
            </a:xfrm>
            <a:custGeom>
              <a:avLst/>
              <a:gdLst>
                <a:gd name="T0" fmla="*/ 74 w 107"/>
                <a:gd name="T1" fmla="*/ 8 h 235"/>
                <a:gd name="T2" fmla="*/ 64 w 107"/>
                <a:gd name="T3" fmla="*/ 0 h 235"/>
                <a:gd name="T4" fmla="*/ 43 w 107"/>
                <a:gd name="T5" fmla="*/ 0 h 235"/>
                <a:gd name="T6" fmla="*/ 32 w 107"/>
                <a:gd name="T7" fmla="*/ 8 h 235"/>
                <a:gd name="T8" fmla="*/ 0 w 107"/>
                <a:gd name="T9" fmla="*/ 136 h 235"/>
                <a:gd name="T10" fmla="*/ 2 w 107"/>
                <a:gd name="T11" fmla="*/ 145 h 235"/>
                <a:gd name="T12" fmla="*/ 11 w 107"/>
                <a:gd name="T13" fmla="*/ 149 h 235"/>
                <a:gd name="T14" fmla="*/ 21 w 107"/>
                <a:gd name="T15" fmla="*/ 149 h 235"/>
                <a:gd name="T16" fmla="*/ 21 w 107"/>
                <a:gd name="T17" fmla="*/ 224 h 235"/>
                <a:gd name="T18" fmla="*/ 32 w 107"/>
                <a:gd name="T19" fmla="*/ 235 h 235"/>
                <a:gd name="T20" fmla="*/ 43 w 107"/>
                <a:gd name="T21" fmla="*/ 224 h 235"/>
                <a:gd name="T22" fmla="*/ 43 w 107"/>
                <a:gd name="T23" fmla="*/ 149 h 235"/>
                <a:gd name="T24" fmla="*/ 64 w 107"/>
                <a:gd name="T25" fmla="*/ 149 h 235"/>
                <a:gd name="T26" fmla="*/ 64 w 107"/>
                <a:gd name="T27" fmla="*/ 224 h 235"/>
                <a:gd name="T28" fmla="*/ 75 w 107"/>
                <a:gd name="T29" fmla="*/ 235 h 235"/>
                <a:gd name="T30" fmla="*/ 85 w 107"/>
                <a:gd name="T31" fmla="*/ 224 h 235"/>
                <a:gd name="T32" fmla="*/ 85 w 107"/>
                <a:gd name="T33" fmla="*/ 149 h 235"/>
                <a:gd name="T34" fmla="*/ 96 w 107"/>
                <a:gd name="T35" fmla="*/ 149 h 235"/>
                <a:gd name="T36" fmla="*/ 104 w 107"/>
                <a:gd name="T37" fmla="*/ 145 h 235"/>
                <a:gd name="T38" fmla="*/ 106 w 107"/>
                <a:gd name="T39" fmla="*/ 136 h 235"/>
                <a:gd name="T40" fmla="*/ 74 w 107"/>
                <a:gd name="T41" fmla="*/ 8 h 235"/>
                <a:gd name="T42" fmla="*/ 51 w 107"/>
                <a:gd name="T43" fmla="*/ 21 h 235"/>
                <a:gd name="T44" fmla="*/ 56 w 107"/>
                <a:gd name="T45" fmla="*/ 21 h 235"/>
                <a:gd name="T46" fmla="*/ 82 w 107"/>
                <a:gd name="T47" fmla="*/ 128 h 235"/>
                <a:gd name="T48" fmla="*/ 24 w 107"/>
                <a:gd name="T49" fmla="*/ 128 h 235"/>
                <a:gd name="T50" fmla="*/ 51 w 107"/>
                <a:gd name="T51" fmla="*/ 21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7" h="235">
                  <a:moveTo>
                    <a:pt x="74" y="8"/>
                  </a:moveTo>
                  <a:cubicBezTo>
                    <a:pt x="73" y="3"/>
                    <a:pt x="69" y="0"/>
                    <a:pt x="64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38" y="0"/>
                    <a:pt x="34" y="3"/>
                    <a:pt x="32" y="8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39"/>
                    <a:pt x="0" y="143"/>
                    <a:pt x="2" y="145"/>
                  </a:cubicBezTo>
                  <a:cubicBezTo>
                    <a:pt x="4" y="148"/>
                    <a:pt x="7" y="149"/>
                    <a:pt x="11" y="149"/>
                  </a:cubicBezTo>
                  <a:cubicBezTo>
                    <a:pt x="21" y="149"/>
                    <a:pt x="21" y="149"/>
                    <a:pt x="21" y="149"/>
                  </a:cubicBezTo>
                  <a:cubicBezTo>
                    <a:pt x="21" y="224"/>
                    <a:pt x="21" y="224"/>
                    <a:pt x="21" y="224"/>
                  </a:cubicBezTo>
                  <a:cubicBezTo>
                    <a:pt x="21" y="230"/>
                    <a:pt x="26" y="235"/>
                    <a:pt x="32" y="235"/>
                  </a:cubicBezTo>
                  <a:cubicBezTo>
                    <a:pt x="38" y="235"/>
                    <a:pt x="43" y="230"/>
                    <a:pt x="43" y="224"/>
                  </a:cubicBezTo>
                  <a:cubicBezTo>
                    <a:pt x="43" y="149"/>
                    <a:pt x="43" y="149"/>
                    <a:pt x="43" y="149"/>
                  </a:cubicBezTo>
                  <a:cubicBezTo>
                    <a:pt x="64" y="149"/>
                    <a:pt x="64" y="149"/>
                    <a:pt x="64" y="149"/>
                  </a:cubicBezTo>
                  <a:cubicBezTo>
                    <a:pt x="64" y="224"/>
                    <a:pt x="64" y="224"/>
                    <a:pt x="64" y="224"/>
                  </a:cubicBezTo>
                  <a:cubicBezTo>
                    <a:pt x="64" y="230"/>
                    <a:pt x="69" y="235"/>
                    <a:pt x="75" y="235"/>
                  </a:cubicBezTo>
                  <a:cubicBezTo>
                    <a:pt x="81" y="235"/>
                    <a:pt x="85" y="230"/>
                    <a:pt x="85" y="224"/>
                  </a:cubicBezTo>
                  <a:cubicBezTo>
                    <a:pt x="85" y="149"/>
                    <a:pt x="85" y="149"/>
                    <a:pt x="85" y="149"/>
                  </a:cubicBezTo>
                  <a:cubicBezTo>
                    <a:pt x="96" y="149"/>
                    <a:pt x="96" y="149"/>
                    <a:pt x="96" y="149"/>
                  </a:cubicBezTo>
                  <a:cubicBezTo>
                    <a:pt x="99" y="149"/>
                    <a:pt x="102" y="148"/>
                    <a:pt x="104" y="145"/>
                  </a:cubicBezTo>
                  <a:cubicBezTo>
                    <a:pt x="106" y="143"/>
                    <a:pt x="107" y="139"/>
                    <a:pt x="106" y="136"/>
                  </a:cubicBezTo>
                  <a:lnTo>
                    <a:pt x="74" y="8"/>
                  </a:lnTo>
                  <a:close/>
                  <a:moveTo>
                    <a:pt x="51" y="21"/>
                  </a:moveTo>
                  <a:cubicBezTo>
                    <a:pt x="56" y="21"/>
                    <a:pt x="56" y="21"/>
                    <a:pt x="56" y="21"/>
                  </a:cubicBezTo>
                  <a:cubicBezTo>
                    <a:pt x="82" y="128"/>
                    <a:pt x="82" y="128"/>
                    <a:pt x="82" y="128"/>
                  </a:cubicBezTo>
                  <a:cubicBezTo>
                    <a:pt x="24" y="128"/>
                    <a:pt x="24" y="128"/>
                    <a:pt x="24" y="128"/>
                  </a:cubicBezTo>
                  <a:lnTo>
                    <a:pt x="51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p14="http://schemas.microsoft.com/office/powerpoint/2010/main" xmlns:mc="http://schemas.openxmlformats.org/markup-compatibility/2006"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319"/>
            </a:p>
          </p:txBody>
        </p:sp>
        <p:sp>
          <p:nvSpPr>
            <p:cNvPr id="43" name="Freeform 830">
              <a:extLst>
                <a:ext uri="{FF2B5EF4-FFF2-40B4-BE49-F238E27FC236}">
                  <a16:creationId xmlns:a16="http://schemas.microsoft.com/office/drawing/2014/main" id="{48EBE319-DF7C-418B-ADDE-32423F28F7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40" y="3083"/>
              <a:ext cx="43" cy="42"/>
            </a:xfrm>
            <a:custGeom>
              <a:avLst/>
              <a:gdLst>
                <a:gd name="T0" fmla="*/ 32 w 64"/>
                <a:gd name="T1" fmla="*/ 64 h 64"/>
                <a:gd name="T2" fmla="*/ 64 w 64"/>
                <a:gd name="T3" fmla="*/ 32 h 64"/>
                <a:gd name="T4" fmla="*/ 32 w 64"/>
                <a:gd name="T5" fmla="*/ 0 h 64"/>
                <a:gd name="T6" fmla="*/ 0 w 64"/>
                <a:gd name="T7" fmla="*/ 32 h 64"/>
                <a:gd name="T8" fmla="*/ 32 w 64"/>
                <a:gd name="T9" fmla="*/ 64 h 64"/>
                <a:gd name="T10" fmla="*/ 32 w 64"/>
                <a:gd name="T11" fmla="*/ 21 h 64"/>
                <a:gd name="T12" fmla="*/ 43 w 64"/>
                <a:gd name="T13" fmla="*/ 32 h 64"/>
                <a:gd name="T14" fmla="*/ 32 w 64"/>
                <a:gd name="T15" fmla="*/ 42 h 64"/>
                <a:gd name="T16" fmla="*/ 22 w 64"/>
                <a:gd name="T17" fmla="*/ 32 h 64"/>
                <a:gd name="T18" fmla="*/ 32 w 64"/>
                <a:gd name="T19" fmla="*/ 2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32" y="64"/>
                  </a:moveTo>
                  <a:cubicBezTo>
                    <a:pt x="50" y="64"/>
                    <a:pt x="64" y="49"/>
                    <a:pt x="64" y="32"/>
                  </a:cubicBezTo>
                  <a:cubicBezTo>
                    <a:pt x="64" y="14"/>
                    <a:pt x="50" y="0"/>
                    <a:pt x="32" y="0"/>
                  </a:cubicBezTo>
                  <a:cubicBezTo>
                    <a:pt x="15" y="0"/>
                    <a:pt x="0" y="14"/>
                    <a:pt x="0" y="32"/>
                  </a:cubicBezTo>
                  <a:cubicBezTo>
                    <a:pt x="0" y="49"/>
                    <a:pt x="15" y="64"/>
                    <a:pt x="32" y="64"/>
                  </a:cubicBezTo>
                  <a:close/>
                  <a:moveTo>
                    <a:pt x="32" y="21"/>
                  </a:moveTo>
                  <a:cubicBezTo>
                    <a:pt x="38" y="21"/>
                    <a:pt x="43" y="26"/>
                    <a:pt x="43" y="32"/>
                  </a:cubicBezTo>
                  <a:cubicBezTo>
                    <a:pt x="43" y="38"/>
                    <a:pt x="38" y="42"/>
                    <a:pt x="32" y="42"/>
                  </a:cubicBezTo>
                  <a:cubicBezTo>
                    <a:pt x="26" y="42"/>
                    <a:pt x="22" y="38"/>
                    <a:pt x="22" y="32"/>
                  </a:cubicBezTo>
                  <a:cubicBezTo>
                    <a:pt x="22" y="26"/>
                    <a:pt x="26" y="21"/>
                    <a:pt x="32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p14="http://schemas.microsoft.com/office/powerpoint/2010/main" xmlns:mc="http://schemas.openxmlformats.org/markup-compatibility/2006"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319"/>
            </a:p>
          </p:txBody>
        </p:sp>
        <p:sp>
          <p:nvSpPr>
            <p:cNvPr id="44" name="Freeform 831">
              <a:extLst>
                <a:ext uri="{FF2B5EF4-FFF2-40B4-BE49-F238E27FC236}">
                  <a16:creationId xmlns:a16="http://schemas.microsoft.com/office/drawing/2014/main" id="{BAC99FEE-B8FF-4525-979C-0F64933553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27" y="3139"/>
              <a:ext cx="71" cy="156"/>
            </a:xfrm>
            <a:custGeom>
              <a:avLst/>
              <a:gdLst>
                <a:gd name="T0" fmla="*/ 96 w 106"/>
                <a:gd name="T1" fmla="*/ 0 h 235"/>
                <a:gd name="T2" fmla="*/ 10 w 106"/>
                <a:gd name="T3" fmla="*/ 0 h 235"/>
                <a:gd name="T4" fmla="*/ 0 w 106"/>
                <a:gd name="T5" fmla="*/ 11 h 235"/>
                <a:gd name="T6" fmla="*/ 0 w 106"/>
                <a:gd name="T7" fmla="*/ 117 h 235"/>
                <a:gd name="T8" fmla="*/ 10 w 106"/>
                <a:gd name="T9" fmla="*/ 128 h 235"/>
                <a:gd name="T10" fmla="*/ 21 w 106"/>
                <a:gd name="T11" fmla="*/ 128 h 235"/>
                <a:gd name="T12" fmla="*/ 21 w 106"/>
                <a:gd name="T13" fmla="*/ 224 h 235"/>
                <a:gd name="T14" fmla="*/ 32 w 106"/>
                <a:gd name="T15" fmla="*/ 235 h 235"/>
                <a:gd name="T16" fmla="*/ 42 w 106"/>
                <a:gd name="T17" fmla="*/ 224 h 235"/>
                <a:gd name="T18" fmla="*/ 42 w 106"/>
                <a:gd name="T19" fmla="*/ 128 h 235"/>
                <a:gd name="T20" fmla="*/ 64 w 106"/>
                <a:gd name="T21" fmla="*/ 128 h 235"/>
                <a:gd name="T22" fmla="*/ 64 w 106"/>
                <a:gd name="T23" fmla="*/ 224 h 235"/>
                <a:gd name="T24" fmla="*/ 74 w 106"/>
                <a:gd name="T25" fmla="*/ 235 h 235"/>
                <a:gd name="T26" fmla="*/ 85 w 106"/>
                <a:gd name="T27" fmla="*/ 224 h 235"/>
                <a:gd name="T28" fmla="*/ 85 w 106"/>
                <a:gd name="T29" fmla="*/ 128 h 235"/>
                <a:gd name="T30" fmla="*/ 96 w 106"/>
                <a:gd name="T31" fmla="*/ 128 h 235"/>
                <a:gd name="T32" fmla="*/ 106 w 106"/>
                <a:gd name="T33" fmla="*/ 117 h 235"/>
                <a:gd name="T34" fmla="*/ 106 w 106"/>
                <a:gd name="T35" fmla="*/ 11 h 235"/>
                <a:gd name="T36" fmla="*/ 96 w 106"/>
                <a:gd name="T37" fmla="*/ 0 h 235"/>
                <a:gd name="T38" fmla="*/ 85 w 106"/>
                <a:gd name="T39" fmla="*/ 107 h 235"/>
                <a:gd name="T40" fmla="*/ 21 w 106"/>
                <a:gd name="T41" fmla="*/ 107 h 235"/>
                <a:gd name="T42" fmla="*/ 21 w 106"/>
                <a:gd name="T43" fmla="*/ 21 h 235"/>
                <a:gd name="T44" fmla="*/ 85 w 106"/>
                <a:gd name="T45" fmla="*/ 21 h 235"/>
                <a:gd name="T46" fmla="*/ 85 w 106"/>
                <a:gd name="T47" fmla="*/ 107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6" h="235">
                  <a:moveTo>
                    <a:pt x="96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0" y="123"/>
                    <a:pt x="4" y="128"/>
                    <a:pt x="10" y="128"/>
                  </a:cubicBezTo>
                  <a:cubicBezTo>
                    <a:pt x="21" y="128"/>
                    <a:pt x="21" y="128"/>
                    <a:pt x="21" y="128"/>
                  </a:cubicBezTo>
                  <a:cubicBezTo>
                    <a:pt x="21" y="224"/>
                    <a:pt x="21" y="224"/>
                    <a:pt x="21" y="224"/>
                  </a:cubicBezTo>
                  <a:cubicBezTo>
                    <a:pt x="21" y="230"/>
                    <a:pt x="26" y="235"/>
                    <a:pt x="32" y="235"/>
                  </a:cubicBezTo>
                  <a:cubicBezTo>
                    <a:pt x="38" y="235"/>
                    <a:pt x="42" y="230"/>
                    <a:pt x="42" y="224"/>
                  </a:cubicBezTo>
                  <a:cubicBezTo>
                    <a:pt x="42" y="128"/>
                    <a:pt x="42" y="128"/>
                    <a:pt x="42" y="128"/>
                  </a:cubicBezTo>
                  <a:cubicBezTo>
                    <a:pt x="64" y="128"/>
                    <a:pt x="64" y="128"/>
                    <a:pt x="64" y="128"/>
                  </a:cubicBezTo>
                  <a:cubicBezTo>
                    <a:pt x="64" y="224"/>
                    <a:pt x="64" y="224"/>
                    <a:pt x="64" y="224"/>
                  </a:cubicBezTo>
                  <a:cubicBezTo>
                    <a:pt x="64" y="230"/>
                    <a:pt x="68" y="235"/>
                    <a:pt x="74" y="235"/>
                  </a:cubicBezTo>
                  <a:cubicBezTo>
                    <a:pt x="80" y="235"/>
                    <a:pt x="85" y="230"/>
                    <a:pt x="85" y="224"/>
                  </a:cubicBezTo>
                  <a:cubicBezTo>
                    <a:pt x="85" y="128"/>
                    <a:pt x="85" y="128"/>
                    <a:pt x="85" y="128"/>
                  </a:cubicBezTo>
                  <a:cubicBezTo>
                    <a:pt x="96" y="128"/>
                    <a:pt x="96" y="128"/>
                    <a:pt x="96" y="128"/>
                  </a:cubicBezTo>
                  <a:cubicBezTo>
                    <a:pt x="102" y="128"/>
                    <a:pt x="106" y="123"/>
                    <a:pt x="106" y="117"/>
                  </a:cubicBezTo>
                  <a:cubicBezTo>
                    <a:pt x="106" y="11"/>
                    <a:pt x="106" y="11"/>
                    <a:pt x="106" y="11"/>
                  </a:cubicBezTo>
                  <a:cubicBezTo>
                    <a:pt x="106" y="5"/>
                    <a:pt x="102" y="0"/>
                    <a:pt x="96" y="0"/>
                  </a:cubicBezTo>
                  <a:close/>
                  <a:moveTo>
                    <a:pt x="85" y="107"/>
                  </a:moveTo>
                  <a:cubicBezTo>
                    <a:pt x="21" y="107"/>
                    <a:pt x="21" y="107"/>
                    <a:pt x="21" y="107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85" y="21"/>
                    <a:pt x="85" y="21"/>
                    <a:pt x="85" y="21"/>
                  </a:cubicBezTo>
                  <a:lnTo>
                    <a:pt x="85" y="1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p14="http://schemas.microsoft.com/office/powerpoint/2010/main" xmlns:mc="http://schemas.openxmlformats.org/markup-compatibility/2006"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319"/>
            </a:p>
          </p:txBody>
        </p:sp>
        <p:sp>
          <p:nvSpPr>
            <p:cNvPr id="45" name="Freeform 832">
              <a:extLst>
                <a:ext uri="{FF2B5EF4-FFF2-40B4-BE49-F238E27FC236}">
                  <a16:creationId xmlns:a16="http://schemas.microsoft.com/office/drawing/2014/main" id="{4E9A7457-C003-456C-AA41-92D2FA0355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41" y="3083"/>
              <a:ext cx="43" cy="42"/>
            </a:xfrm>
            <a:custGeom>
              <a:avLst/>
              <a:gdLst>
                <a:gd name="T0" fmla="*/ 32 w 64"/>
                <a:gd name="T1" fmla="*/ 64 h 64"/>
                <a:gd name="T2" fmla="*/ 64 w 64"/>
                <a:gd name="T3" fmla="*/ 32 h 64"/>
                <a:gd name="T4" fmla="*/ 32 w 64"/>
                <a:gd name="T5" fmla="*/ 0 h 64"/>
                <a:gd name="T6" fmla="*/ 0 w 64"/>
                <a:gd name="T7" fmla="*/ 32 h 64"/>
                <a:gd name="T8" fmla="*/ 32 w 64"/>
                <a:gd name="T9" fmla="*/ 64 h 64"/>
                <a:gd name="T10" fmla="*/ 32 w 64"/>
                <a:gd name="T11" fmla="*/ 21 h 64"/>
                <a:gd name="T12" fmla="*/ 43 w 64"/>
                <a:gd name="T13" fmla="*/ 32 h 64"/>
                <a:gd name="T14" fmla="*/ 32 w 64"/>
                <a:gd name="T15" fmla="*/ 42 h 64"/>
                <a:gd name="T16" fmla="*/ 21 w 64"/>
                <a:gd name="T17" fmla="*/ 32 h 64"/>
                <a:gd name="T18" fmla="*/ 32 w 64"/>
                <a:gd name="T19" fmla="*/ 2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32" y="64"/>
                  </a:moveTo>
                  <a:cubicBezTo>
                    <a:pt x="50" y="64"/>
                    <a:pt x="64" y="49"/>
                    <a:pt x="64" y="32"/>
                  </a:cubicBezTo>
                  <a:cubicBezTo>
                    <a:pt x="64" y="14"/>
                    <a:pt x="50" y="0"/>
                    <a:pt x="32" y="0"/>
                  </a:cubicBezTo>
                  <a:cubicBezTo>
                    <a:pt x="14" y="0"/>
                    <a:pt x="0" y="14"/>
                    <a:pt x="0" y="32"/>
                  </a:cubicBezTo>
                  <a:cubicBezTo>
                    <a:pt x="0" y="49"/>
                    <a:pt x="14" y="64"/>
                    <a:pt x="32" y="64"/>
                  </a:cubicBezTo>
                  <a:close/>
                  <a:moveTo>
                    <a:pt x="32" y="21"/>
                  </a:moveTo>
                  <a:cubicBezTo>
                    <a:pt x="38" y="21"/>
                    <a:pt x="43" y="26"/>
                    <a:pt x="43" y="32"/>
                  </a:cubicBezTo>
                  <a:cubicBezTo>
                    <a:pt x="43" y="38"/>
                    <a:pt x="38" y="42"/>
                    <a:pt x="32" y="42"/>
                  </a:cubicBezTo>
                  <a:cubicBezTo>
                    <a:pt x="26" y="42"/>
                    <a:pt x="21" y="38"/>
                    <a:pt x="21" y="32"/>
                  </a:cubicBezTo>
                  <a:cubicBezTo>
                    <a:pt x="21" y="26"/>
                    <a:pt x="26" y="21"/>
                    <a:pt x="32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p14="http://schemas.microsoft.com/office/powerpoint/2010/main" xmlns:mc="http://schemas.openxmlformats.org/markup-compatibility/2006"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319"/>
            </a:p>
          </p:txBody>
        </p:sp>
        <p:sp>
          <p:nvSpPr>
            <p:cNvPr id="46" name="Freeform 833">
              <a:extLst>
                <a:ext uri="{FF2B5EF4-FFF2-40B4-BE49-F238E27FC236}">
                  <a16:creationId xmlns:a16="http://schemas.microsoft.com/office/drawing/2014/main" id="{FBE0667F-FEE8-4AC8-A3F5-673C1B2CB9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42" y="3019"/>
              <a:ext cx="341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256 w 512"/>
                <a:gd name="T11" fmla="*/ 490 h 512"/>
                <a:gd name="T12" fmla="*/ 21 w 512"/>
                <a:gd name="T13" fmla="*/ 256 h 512"/>
                <a:gd name="T14" fmla="*/ 256 w 512"/>
                <a:gd name="T15" fmla="*/ 21 h 512"/>
                <a:gd name="T16" fmla="*/ 490 w 512"/>
                <a:gd name="T17" fmla="*/ 256 h 512"/>
                <a:gd name="T18" fmla="*/ 256 w 512"/>
                <a:gd name="T19" fmla="*/ 49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256" y="490"/>
                  </a:move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p14="http://schemas.microsoft.com/office/powerpoint/2010/main" xmlns:mc="http://schemas.openxmlformats.org/markup-compatibility/2006"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319"/>
            </a:p>
          </p:txBody>
        </p:sp>
      </p:grpSp>
      <p:grpSp>
        <p:nvGrpSpPr>
          <p:cNvPr id="47" name="Group 299">
            <a:extLst>
              <a:ext uri="{FF2B5EF4-FFF2-40B4-BE49-F238E27FC236}">
                <a16:creationId xmlns:a16="http://schemas.microsoft.com/office/drawing/2014/main" id="{0E77ACF6-CFDA-4685-8B93-CDED278E737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19155" y="2173448"/>
            <a:ext cx="637966" cy="636086"/>
            <a:chOff x="1166" y="1121"/>
            <a:chExt cx="341" cy="340"/>
          </a:xfrm>
          <a:solidFill>
            <a:schemeClr val="accent2"/>
          </a:solidFill>
        </p:grpSpPr>
        <p:sp>
          <p:nvSpPr>
            <p:cNvPr id="48" name="Freeform 300">
              <a:extLst>
                <a:ext uri="{FF2B5EF4-FFF2-40B4-BE49-F238E27FC236}">
                  <a16:creationId xmlns:a16="http://schemas.microsoft.com/office/drawing/2014/main" id="{8674D191-DB93-4C97-B678-4DF4739002D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30" y="1213"/>
              <a:ext cx="213" cy="170"/>
            </a:xfrm>
            <a:custGeom>
              <a:avLst/>
              <a:gdLst>
                <a:gd name="T0" fmla="*/ 309 w 320"/>
                <a:gd name="T1" fmla="*/ 0 h 256"/>
                <a:gd name="T2" fmla="*/ 10 w 320"/>
                <a:gd name="T3" fmla="*/ 0 h 256"/>
                <a:gd name="T4" fmla="*/ 0 w 320"/>
                <a:gd name="T5" fmla="*/ 11 h 256"/>
                <a:gd name="T6" fmla="*/ 0 w 320"/>
                <a:gd name="T7" fmla="*/ 203 h 256"/>
                <a:gd name="T8" fmla="*/ 10 w 320"/>
                <a:gd name="T9" fmla="*/ 214 h 256"/>
                <a:gd name="T10" fmla="*/ 149 w 320"/>
                <a:gd name="T11" fmla="*/ 214 h 256"/>
                <a:gd name="T12" fmla="*/ 149 w 320"/>
                <a:gd name="T13" fmla="*/ 235 h 256"/>
                <a:gd name="T14" fmla="*/ 106 w 320"/>
                <a:gd name="T15" fmla="*/ 235 h 256"/>
                <a:gd name="T16" fmla="*/ 96 w 320"/>
                <a:gd name="T17" fmla="*/ 246 h 256"/>
                <a:gd name="T18" fmla="*/ 106 w 320"/>
                <a:gd name="T19" fmla="*/ 256 h 256"/>
                <a:gd name="T20" fmla="*/ 213 w 320"/>
                <a:gd name="T21" fmla="*/ 256 h 256"/>
                <a:gd name="T22" fmla="*/ 224 w 320"/>
                <a:gd name="T23" fmla="*/ 246 h 256"/>
                <a:gd name="T24" fmla="*/ 213 w 320"/>
                <a:gd name="T25" fmla="*/ 235 h 256"/>
                <a:gd name="T26" fmla="*/ 170 w 320"/>
                <a:gd name="T27" fmla="*/ 235 h 256"/>
                <a:gd name="T28" fmla="*/ 170 w 320"/>
                <a:gd name="T29" fmla="*/ 214 h 256"/>
                <a:gd name="T30" fmla="*/ 309 w 320"/>
                <a:gd name="T31" fmla="*/ 214 h 256"/>
                <a:gd name="T32" fmla="*/ 320 w 320"/>
                <a:gd name="T33" fmla="*/ 203 h 256"/>
                <a:gd name="T34" fmla="*/ 320 w 320"/>
                <a:gd name="T35" fmla="*/ 11 h 256"/>
                <a:gd name="T36" fmla="*/ 309 w 320"/>
                <a:gd name="T37" fmla="*/ 0 h 256"/>
                <a:gd name="T38" fmla="*/ 298 w 320"/>
                <a:gd name="T39" fmla="*/ 192 h 256"/>
                <a:gd name="T40" fmla="*/ 21 w 320"/>
                <a:gd name="T41" fmla="*/ 192 h 256"/>
                <a:gd name="T42" fmla="*/ 21 w 320"/>
                <a:gd name="T43" fmla="*/ 22 h 256"/>
                <a:gd name="T44" fmla="*/ 298 w 320"/>
                <a:gd name="T45" fmla="*/ 22 h 256"/>
                <a:gd name="T46" fmla="*/ 298 w 320"/>
                <a:gd name="T47" fmla="*/ 192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20" h="256">
                  <a:moveTo>
                    <a:pt x="309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0" y="209"/>
                    <a:pt x="4" y="214"/>
                    <a:pt x="10" y="214"/>
                  </a:cubicBezTo>
                  <a:cubicBezTo>
                    <a:pt x="149" y="214"/>
                    <a:pt x="149" y="214"/>
                    <a:pt x="149" y="214"/>
                  </a:cubicBezTo>
                  <a:cubicBezTo>
                    <a:pt x="149" y="235"/>
                    <a:pt x="149" y="235"/>
                    <a:pt x="149" y="235"/>
                  </a:cubicBezTo>
                  <a:cubicBezTo>
                    <a:pt x="106" y="235"/>
                    <a:pt x="106" y="235"/>
                    <a:pt x="106" y="235"/>
                  </a:cubicBezTo>
                  <a:cubicBezTo>
                    <a:pt x="100" y="235"/>
                    <a:pt x="96" y="240"/>
                    <a:pt x="96" y="246"/>
                  </a:cubicBezTo>
                  <a:cubicBezTo>
                    <a:pt x="96" y="252"/>
                    <a:pt x="100" y="256"/>
                    <a:pt x="106" y="256"/>
                  </a:cubicBezTo>
                  <a:cubicBezTo>
                    <a:pt x="213" y="256"/>
                    <a:pt x="213" y="256"/>
                    <a:pt x="213" y="256"/>
                  </a:cubicBezTo>
                  <a:cubicBezTo>
                    <a:pt x="219" y="256"/>
                    <a:pt x="224" y="252"/>
                    <a:pt x="224" y="246"/>
                  </a:cubicBezTo>
                  <a:cubicBezTo>
                    <a:pt x="224" y="240"/>
                    <a:pt x="219" y="235"/>
                    <a:pt x="213" y="235"/>
                  </a:cubicBezTo>
                  <a:cubicBezTo>
                    <a:pt x="170" y="235"/>
                    <a:pt x="170" y="235"/>
                    <a:pt x="170" y="235"/>
                  </a:cubicBezTo>
                  <a:cubicBezTo>
                    <a:pt x="170" y="214"/>
                    <a:pt x="170" y="214"/>
                    <a:pt x="170" y="214"/>
                  </a:cubicBezTo>
                  <a:cubicBezTo>
                    <a:pt x="309" y="214"/>
                    <a:pt x="309" y="214"/>
                    <a:pt x="309" y="214"/>
                  </a:cubicBezTo>
                  <a:cubicBezTo>
                    <a:pt x="315" y="214"/>
                    <a:pt x="320" y="209"/>
                    <a:pt x="320" y="203"/>
                  </a:cubicBezTo>
                  <a:cubicBezTo>
                    <a:pt x="320" y="11"/>
                    <a:pt x="320" y="11"/>
                    <a:pt x="320" y="11"/>
                  </a:cubicBezTo>
                  <a:cubicBezTo>
                    <a:pt x="320" y="5"/>
                    <a:pt x="315" y="0"/>
                    <a:pt x="309" y="0"/>
                  </a:cubicBezTo>
                  <a:close/>
                  <a:moveTo>
                    <a:pt x="298" y="192"/>
                  </a:moveTo>
                  <a:cubicBezTo>
                    <a:pt x="21" y="192"/>
                    <a:pt x="21" y="192"/>
                    <a:pt x="21" y="192"/>
                  </a:cubicBezTo>
                  <a:cubicBezTo>
                    <a:pt x="21" y="22"/>
                    <a:pt x="21" y="22"/>
                    <a:pt x="21" y="22"/>
                  </a:cubicBezTo>
                  <a:cubicBezTo>
                    <a:pt x="298" y="22"/>
                    <a:pt x="298" y="22"/>
                    <a:pt x="298" y="22"/>
                  </a:cubicBezTo>
                  <a:lnTo>
                    <a:pt x="298" y="1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p14="http://schemas.microsoft.com/office/powerpoint/2010/main" xmlns:mc="http://schemas.openxmlformats.org/markup-compatibility/2006"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96"/>
            </a:p>
          </p:txBody>
        </p:sp>
        <p:sp>
          <p:nvSpPr>
            <p:cNvPr id="49" name="Freeform 301">
              <a:extLst>
                <a:ext uri="{FF2B5EF4-FFF2-40B4-BE49-F238E27FC236}">
                  <a16:creationId xmlns:a16="http://schemas.microsoft.com/office/drawing/2014/main" id="{AED8F945-75A3-48DA-A68F-C6AB02975C3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66" y="1121"/>
              <a:ext cx="341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p14="http://schemas.microsoft.com/office/powerpoint/2010/main" xmlns:mc="http://schemas.openxmlformats.org/markup-compatibility/2006"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96"/>
            </a:p>
          </p:txBody>
        </p:sp>
      </p:grpSp>
      <p:grpSp>
        <p:nvGrpSpPr>
          <p:cNvPr id="50" name="Group 932">
            <a:extLst>
              <a:ext uri="{FF2B5EF4-FFF2-40B4-BE49-F238E27FC236}">
                <a16:creationId xmlns:a16="http://schemas.microsoft.com/office/drawing/2014/main" id="{C6B934D9-B857-47AE-A2B7-00BF1CC75F1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15409" y="3043271"/>
            <a:ext cx="637200" cy="637199"/>
            <a:chOff x="5795" y="3560"/>
            <a:chExt cx="340" cy="340"/>
          </a:xfrm>
          <a:solidFill>
            <a:schemeClr val="tx2"/>
          </a:solidFill>
        </p:grpSpPr>
        <p:sp>
          <p:nvSpPr>
            <p:cNvPr id="51" name="Freeform 933">
              <a:extLst>
                <a:ext uri="{FF2B5EF4-FFF2-40B4-BE49-F238E27FC236}">
                  <a16:creationId xmlns:a16="http://schemas.microsoft.com/office/drawing/2014/main" id="{4F8C12AD-CA76-43C6-8AC8-6373002CCD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9" y="3652"/>
              <a:ext cx="212" cy="148"/>
            </a:xfrm>
            <a:custGeom>
              <a:avLst/>
              <a:gdLst>
                <a:gd name="T0" fmla="*/ 313 w 320"/>
                <a:gd name="T1" fmla="*/ 54 h 224"/>
                <a:gd name="T2" fmla="*/ 163 w 320"/>
                <a:gd name="T3" fmla="*/ 1 h 224"/>
                <a:gd name="T4" fmla="*/ 156 w 320"/>
                <a:gd name="T5" fmla="*/ 1 h 224"/>
                <a:gd name="T6" fmla="*/ 7 w 320"/>
                <a:gd name="T7" fmla="*/ 54 h 224"/>
                <a:gd name="T8" fmla="*/ 0 w 320"/>
                <a:gd name="T9" fmla="*/ 64 h 224"/>
                <a:gd name="T10" fmla="*/ 6 w 320"/>
                <a:gd name="T11" fmla="*/ 74 h 224"/>
                <a:gd name="T12" fmla="*/ 63 w 320"/>
                <a:gd name="T13" fmla="*/ 98 h 224"/>
                <a:gd name="T14" fmla="*/ 53 w 320"/>
                <a:gd name="T15" fmla="*/ 170 h 224"/>
                <a:gd name="T16" fmla="*/ 54 w 320"/>
                <a:gd name="T17" fmla="*/ 176 h 224"/>
                <a:gd name="T18" fmla="*/ 160 w 320"/>
                <a:gd name="T19" fmla="*/ 224 h 224"/>
                <a:gd name="T20" fmla="*/ 264 w 320"/>
                <a:gd name="T21" fmla="*/ 178 h 224"/>
                <a:gd name="T22" fmla="*/ 266 w 320"/>
                <a:gd name="T23" fmla="*/ 170 h 224"/>
                <a:gd name="T24" fmla="*/ 257 w 320"/>
                <a:gd name="T25" fmla="*/ 98 h 224"/>
                <a:gd name="T26" fmla="*/ 288 w 320"/>
                <a:gd name="T27" fmla="*/ 85 h 224"/>
                <a:gd name="T28" fmla="*/ 288 w 320"/>
                <a:gd name="T29" fmla="*/ 214 h 224"/>
                <a:gd name="T30" fmla="*/ 298 w 320"/>
                <a:gd name="T31" fmla="*/ 224 h 224"/>
                <a:gd name="T32" fmla="*/ 309 w 320"/>
                <a:gd name="T33" fmla="*/ 214 h 224"/>
                <a:gd name="T34" fmla="*/ 309 w 320"/>
                <a:gd name="T35" fmla="*/ 76 h 224"/>
                <a:gd name="T36" fmla="*/ 313 w 320"/>
                <a:gd name="T37" fmla="*/ 74 h 224"/>
                <a:gd name="T38" fmla="*/ 320 w 320"/>
                <a:gd name="T39" fmla="*/ 64 h 224"/>
                <a:gd name="T40" fmla="*/ 313 w 320"/>
                <a:gd name="T41" fmla="*/ 54 h 224"/>
                <a:gd name="T42" fmla="*/ 244 w 320"/>
                <a:gd name="T43" fmla="*/ 167 h 224"/>
                <a:gd name="T44" fmla="*/ 160 w 320"/>
                <a:gd name="T45" fmla="*/ 203 h 224"/>
                <a:gd name="T46" fmla="*/ 75 w 320"/>
                <a:gd name="T47" fmla="*/ 168 h 224"/>
                <a:gd name="T48" fmla="*/ 83 w 320"/>
                <a:gd name="T49" fmla="*/ 107 h 224"/>
                <a:gd name="T50" fmla="*/ 155 w 320"/>
                <a:gd name="T51" fmla="*/ 138 h 224"/>
                <a:gd name="T52" fmla="*/ 160 w 320"/>
                <a:gd name="T53" fmla="*/ 139 h 224"/>
                <a:gd name="T54" fmla="*/ 164 w 320"/>
                <a:gd name="T55" fmla="*/ 138 h 224"/>
                <a:gd name="T56" fmla="*/ 236 w 320"/>
                <a:gd name="T57" fmla="*/ 107 h 224"/>
                <a:gd name="T58" fmla="*/ 244 w 320"/>
                <a:gd name="T59" fmla="*/ 167 h 224"/>
                <a:gd name="T60" fmla="*/ 160 w 320"/>
                <a:gd name="T61" fmla="*/ 117 h 224"/>
                <a:gd name="T62" fmla="*/ 40 w 320"/>
                <a:gd name="T63" fmla="*/ 65 h 224"/>
                <a:gd name="T64" fmla="*/ 160 w 320"/>
                <a:gd name="T65" fmla="*/ 22 h 224"/>
                <a:gd name="T66" fmla="*/ 280 w 320"/>
                <a:gd name="T67" fmla="*/ 65 h 224"/>
                <a:gd name="T68" fmla="*/ 160 w 320"/>
                <a:gd name="T69" fmla="*/ 117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20" h="224">
                  <a:moveTo>
                    <a:pt x="313" y="54"/>
                  </a:moveTo>
                  <a:cubicBezTo>
                    <a:pt x="163" y="1"/>
                    <a:pt x="163" y="1"/>
                    <a:pt x="163" y="1"/>
                  </a:cubicBezTo>
                  <a:cubicBezTo>
                    <a:pt x="161" y="0"/>
                    <a:pt x="158" y="0"/>
                    <a:pt x="156" y="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3" y="56"/>
                    <a:pt x="0" y="60"/>
                    <a:pt x="0" y="64"/>
                  </a:cubicBezTo>
                  <a:cubicBezTo>
                    <a:pt x="0" y="68"/>
                    <a:pt x="2" y="72"/>
                    <a:pt x="6" y="74"/>
                  </a:cubicBezTo>
                  <a:cubicBezTo>
                    <a:pt x="63" y="98"/>
                    <a:pt x="63" y="98"/>
                    <a:pt x="63" y="98"/>
                  </a:cubicBezTo>
                  <a:cubicBezTo>
                    <a:pt x="53" y="170"/>
                    <a:pt x="53" y="170"/>
                    <a:pt x="53" y="170"/>
                  </a:cubicBezTo>
                  <a:cubicBezTo>
                    <a:pt x="53" y="172"/>
                    <a:pt x="53" y="174"/>
                    <a:pt x="54" y="176"/>
                  </a:cubicBezTo>
                  <a:cubicBezTo>
                    <a:pt x="56" y="178"/>
                    <a:pt x="83" y="224"/>
                    <a:pt x="160" y="224"/>
                  </a:cubicBezTo>
                  <a:cubicBezTo>
                    <a:pt x="223" y="224"/>
                    <a:pt x="262" y="180"/>
                    <a:pt x="264" y="178"/>
                  </a:cubicBezTo>
                  <a:cubicBezTo>
                    <a:pt x="266" y="176"/>
                    <a:pt x="267" y="173"/>
                    <a:pt x="266" y="170"/>
                  </a:cubicBezTo>
                  <a:cubicBezTo>
                    <a:pt x="257" y="98"/>
                    <a:pt x="257" y="98"/>
                    <a:pt x="257" y="98"/>
                  </a:cubicBezTo>
                  <a:cubicBezTo>
                    <a:pt x="288" y="85"/>
                    <a:pt x="288" y="85"/>
                    <a:pt x="288" y="85"/>
                  </a:cubicBezTo>
                  <a:cubicBezTo>
                    <a:pt x="288" y="214"/>
                    <a:pt x="288" y="214"/>
                    <a:pt x="288" y="214"/>
                  </a:cubicBezTo>
                  <a:cubicBezTo>
                    <a:pt x="288" y="220"/>
                    <a:pt x="292" y="224"/>
                    <a:pt x="298" y="224"/>
                  </a:cubicBezTo>
                  <a:cubicBezTo>
                    <a:pt x="304" y="224"/>
                    <a:pt x="309" y="220"/>
                    <a:pt x="309" y="214"/>
                  </a:cubicBezTo>
                  <a:cubicBezTo>
                    <a:pt x="309" y="76"/>
                    <a:pt x="309" y="76"/>
                    <a:pt x="309" y="76"/>
                  </a:cubicBezTo>
                  <a:cubicBezTo>
                    <a:pt x="313" y="74"/>
                    <a:pt x="313" y="74"/>
                    <a:pt x="313" y="74"/>
                  </a:cubicBezTo>
                  <a:cubicBezTo>
                    <a:pt x="317" y="72"/>
                    <a:pt x="320" y="68"/>
                    <a:pt x="320" y="64"/>
                  </a:cubicBezTo>
                  <a:cubicBezTo>
                    <a:pt x="320" y="60"/>
                    <a:pt x="317" y="56"/>
                    <a:pt x="313" y="54"/>
                  </a:cubicBezTo>
                  <a:close/>
                  <a:moveTo>
                    <a:pt x="244" y="167"/>
                  </a:moveTo>
                  <a:cubicBezTo>
                    <a:pt x="235" y="177"/>
                    <a:pt x="203" y="203"/>
                    <a:pt x="160" y="203"/>
                  </a:cubicBezTo>
                  <a:cubicBezTo>
                    <a:pt x="105" y="203"/>
                    <a:pt x="81" y="177"/>
                    <a:pt x="75" y="168"/>
                  </a:cubicBezTo>
                  <a:cubicBezTo>
                    <a:pt x="83" y="107"/>
                    <a:pt x="83" y="107"/>
                    <a:pt x="83" y="107"/>
                  </a:cubicBezTo>
                  <a:cubicBezTo>
                    <a:pt x="155" y="138"/>
                    <a:pt x="155" y="138"/>
                    <a:pt x="155" y="138"/>
                  </a:cubicBezTo>
                  <a:cubicBezTo>
                    <a:pt x="157" y="139"/>
                    <a:pt x="158" y="139"/>
                    <a:pt x="160" y="139"/>
                  </a:cubicBezTo>
                  <a:cubicBezTo>
                    <a:pt x="161" y="139"/>
                    <a:pt x="163" y="139"/>
                    <a:pt x="164" y="138"/>
                  </a:cubicBezTo>
                  <a:cubicBezTo>
                    <a:pt x="236" y="107"/>
                    <a:pt x="236" y="107"/>
                    <a:pt x="236" y="107"/>
                  </a:cubicBezTo>
                  <a:lnTo>
                    <a:pt x="244" y="167"/>
                  </a:lnTo>
                  <a:close/>
                  <a:moveTo>
                    <a:pt x="160" y="117"/>
                  </a:moveTo>
                  <a:cubicBezTo>
                    <a:pt x="40" y="65"/>
                    <a:pt x="40" y="65"/>
                    <a:pt x="40" y="65"/>
                  </a:cubicBezTo>
                  <a:cubicBezTo>
                    <a:pt x="160" y="22"/>
                    <a:pt x="160" y="22"/>
                    <a:pt x="160" y="22"/>
                  </a:cubicBezTo>
                  <a:cubicBezTo>
                    <a:pt x="280" y="65"/>
                    <a:pt x="280" y="65"/>
                    <a:pt x="280" y="65"/>
                  </a:cubicBezTo>
                  <a:lnTo>
                    <a:pt x="160" y="1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p14="http://schemas.microsoft.com/office/powerpoint/2010/main" xmlns:mc="http://schemas.openxmlformats.org/markup-compatibility/2006"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319"/>
            </a:p>
          </p:txBody>
        </p:sp>
        <p:sp>
          <p:nvSpPr>
            <p:cNvPr id="52" name="Freeform 934">
              <a:extLst>
                <a:ext uri="{FF2B5EF4-FFF2-40B4-BE49-F238E27FC236}">
                  <a16:creationId xmlns:a16="http://schemas.microsoft.com/office/drawing/2014/main" id="{23E5AEED-13DB-4ABB-B768-A37C9D45EB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95" y="3560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p14="http://schemas.microsoft.com/office/powerpoint/2010/main" xmlns:mc="http://schemas.openxmlformats.org/markup-compatibility/2006"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319"/>
            </a:p>
          </p:txBody>
        </p:sp>
      </p:grpSp>
    </p:spTree>
    <p:extLst>
      <p:ext uri="{BB962C8B-B14F-4D97-AF65-F5344CB8AC3E}">
        <p14:creationId xmlns:p14="http://schemas.microsoft.com/office/powerpoint/2010/main" val="22543798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5FD3C8-9491-4823-8333-44B69CC483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nb-NO"/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94C2FC-6200-440B-85E5-FF627608D03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52488" y="3602725"/>
            <a:ext cx="6435960" cy="1628238"/>
          </a:xfrm>
        </p:spPr>
        <p:txBody>
          <a:bodyPr>
            <a:normAutofit/>
          </a:bodyPr>
          <a:lstStyle/>
          <a:p>
            <a:pPr lvl="1"/>
            <a:endParaRPr lang="nb-NO"/>
          </a:p>
          <a:p>
            <a:endParaRPr lang="nb-NO"/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9CEC64A9-177F-4F35-BFC9-924D072343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39884644"/>
              </p:ext>
            </p:extLst>
          </p:nvPr>
        </p:nvGraphicFramePr>
        <p:xfrm>
          <a:off x="402393" y="1275556"/>
          <a:ext cx="7700726" cy="35336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181967">
                  <a:extLst>
                    <a:ext uri="{9D8B030D-6E8A-4147-A177-3AD203B41FA5}">
                      <a16:colId xmlns:a16="http://schemas.microsoft.com/office/drawing/2014/main" val="3031343381"/>
                    </a:ext>
                  </a:extLst>
                </a:gridCol>
                <a:gridCol w="1518759">
                  <a:extLst>
                    <a:ext uri="{9D8B030D-6E8A-4147-A177-3AD203B41FA5}">
                      <a16:colId xmlns:a16="http://schemas.microsoft.com/office/drawing/2014/main" val="2136914587"/>
                    </a:ext>
                  </a:extLst>
                </a:gridCol>
              </a:tblGrid>
              <a:tr h="510571">
                <a:tc>
                  <a:txBody>
                    <a:bodyPr/>
                    <a:lstStyle/>
                    <a:p>
                      <a:r>
                        <a:rPr lang="nb-NO" dirty="0">
                          <a:solidFill>
                            <a:schemeClr val="tx1"/>
                          </a:solidFill>
                        </a:rPr>
                        <a:t>Velkommen, mål for møtet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dirty="0">
                          <a:solidFill>
                            <a:schemeClr val="tx1"/>
                          </a:solidFill>
                        </a:rPr>
                        <a:t>5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7356267"/>
                  </a:ext>
                </a:extLst>
              </a:tr>
              <a:tr h="403939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dirty="0">
                          <a:solidFill>
                            <a:schemeClr val="tx1"/>
                          </a:solidFill>
                        </a:rPr>
                        <a:t>Om fagrekvirentrollen</a:t>
                      </a:r>
                    </a:p>
                    <a:p>
                      <a:pPr marL="285750" marR="0" lvl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nb-NO" sz="1600" dirty="0">
                          <a:solidFill>
                            <a:schemeClr val="tx1"/>
                          </a:solidFill>
                        </a:rPr>
                        <a:t>Rollebeskrivelse og formålet med rollen </a:t>
                      </a:r>
                    </a:p>
                    <a:p>
                      <a:pPr marL="285750" marR="0" lvl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nb-NO" sz="1600" dirty="0">
                          <a:solidFill>
                            <a:schemeClr val="tx1"/>
                          </a:solidFill>
                        </a:rPr>
                        <a:t>Prosessflyten for fagrekvirent</a:t>
                      </a:r>
                    </a:p>
                    <a:p>
                      <a:pPr marL="285750" marR="0" lvl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nb-NO" sz="1600" dirty="0" err="1">
                          <a:solidFill>
                            <a:schemeClr val="tx1"/>
                          </a:solidFill>
                        </a:rPr>
                        <a:t>Hovedendringer</a:t>
                      </a:r>
                      <a:r>
                        <a:rPr lang="nb-NO" sz="1600" dirty="0">
                          <a:solidFill>
                            <a:schemeClr val="tx1"/>
                          </a:solidFill>
                        </a:rPr>
                        <a:t> fra dagens rolle på NTNU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dirty="0">
                          <a:solidFill>
                            <a:schemeClr val="tx1"/>
                          </a:solidFill>
                        </a:rPr>
                        <a:t>20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5385281"/>
                  </a:ext>
                </a:extLst>
              </a:tr>
              <a:tr h="639571">
                <a:tc>
                  <a:txBody>
                    <a:bodyPr/>
                    <a:lstStyle/>
                    <a:p>
                      <a:r>
                        <a:rPr lang="nb-NO" sz="1600" dirty="0">
                          <a:solidFill>
                            <a:schemeClr val="tx1"/>
                          </a:solidFill>
                        </a:rPr>
                        <a:t>Tips til veien videre – hvordan jobbe med innplassering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dirty="0">
                          <a:solidFill>
                            <a:schemeClr val="tx1"/>
                          </a:solidFill>
                        </a:rPr>
                        <a:t>10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1162"/>
                  </a:ext>
                </a:extLst>
              </a:tr>
              <a:tr h="677167">
                <a:tc>
                  <a:txBody>
                    <a:bodyPr/>
                    <a:lstStyle/>
                    <a:p>
                      <a:r>
                        <a:rPr lang="nb-NO" sz="1600" dirty="0">
                          <a:solidFill>
                            <a:schemeClr val="bg1"/>
                          </a:solidFill>
                        </a:rPr>
                        <a:t>Spørsmål og svar - </a:t>
                      </a:r>
                      <a:r>
                        <a:rPr lang="nb-NO" sz="1600" dirty="0" err="1">
                          <a:solidFill>
                            <a:schemeClr val="bg1"/>
                          </a:solidFill>
                        </a:rPr>
                        <a:t>Menti</a:t>
                      </a:r>
                      <a:endParaRPr lang="nb-NO" sz="16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0D347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dirty="0">
                          <a:solidFill>
                            <a:schemeClr val="bg1"/>
                          </a:solidFill>
                        </a:rPr>
                        <a:t>20 min</a:t>
                      </a:r>
                    </a:p>
                  </a:txBody>
                  <a:tcPr>
                    <a:solidFill>
                      <a:srgbClr val="0D34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2691380"/>
                  </a:ext>
                </a:extLst>
              </a:tr>
              <a:tr h="639571">
                <a:tc>
                  <a:txBody>
                    <a:bodyPr/>
                    <a:lstStyle/>
                    <a:p>
                      <a:r>
                        <a:rPr lang="nb-NO" sz="1600" dirty="0"/>
                        <a:t>Avslut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/>
                        <a:t>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8436815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447559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05A046F-C2A3-4431-9059-86CB6D68D80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05A046F-C2A3-4431-9059-86CB6D68D8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9794632-94F0-451D-972B-025EC8E86D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 dirty="0"/>
              <a:t>Spørsmål og svar - </a:t>
            </a:r>
            <a:r>
              <a:rPr lang="nb-NO" dirty="0" err="1"/>
              <a:t>menti</a:t>
            </a:r>
            <a:endParaRPr lang="nb-NO" dirty="0"/>
          </a:p>
        </p:txBody>
      </p:sp>
      <p:pic>
        <p:nvPicPr>
          <p:cNvPr id="4" name="Graphic 3" descr="Questions with solid fill">
            <a:extLst>
              <a:ext uri="{FF2B5EF4-FFF2-40B4-BE49-F238E27FC236}">
                <a16:creationId xmlns:a16="http://schemas.microsoft.com/office/drawing/2014/main" id="{E1926C42-1E95-42F2-92E2-23C6EC6ECC5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846394" y="967558"/>
            <a:ext cx="3322502" cy="332250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4E14158-7A29-4054-888A-CAE64B20946A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5003"/>
          <a:stretch/>
        </p:blipFill>
        <p:spPr>
          <a:xfrm>
            <a:off x="2127767" y="4290060"/>
            <a:ext cx="4888466" cy="441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257016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5FD3C8-9491-4823-8333-44B69CC483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nb-NO"/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94C2FC-6200-440B-85E5-FF627608D03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52488" y="3602725"/>
            <a:ext cx="6435960" cy="1628238"/>
          </a:xfrm>
        </p:spPr>
        <p:txBody>
          <a:bodyPr>
            <a:normAutofit/>
          </a:bodyPr>
          <a:lstStyle/>
          <a:p>
            <a:pPr lvl="1"/>
            <a:endParaRPr lang="nb-NO"/>
          </a:p>
          <a:p>
            <a:endParaRPr lang="nb-NO"/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9CEC64A9-177F-4F35-BFC9-924D072343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44760228"/>
              </p:ext>
            </p:extLst>
          </p:nvPr>
        </p:nvGraphicFramePr>
        <p:xfrm>
          <a:off x="402393" y="1275556"/>
          <a:ext cx="7700726" cy="35336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181967">
                  <a:extLst>
                    <a:ext uri="{9D8B030D-6E8A-4147-A177-3AD203B41FA5}">
                      <a16:colId xmlns:a16="http://schemas.microsoft.com/office/drawing/2014/main" val="3031343381"/>
                    </a:ext>
                  </a:extLst>
                </a:gridCol>
                <a:gridCol w="1518759">
                  <a:extLst>
                    <a:ext uri="{9D8B030D-6E8A-4147-A177-3AD203B41FA5}">
                      <a16:colId xmlns:a16="http://schemas.microsoft.com/office/drawing/2014/main" val="2136914587"/>
                    </a:ext>
                  </a:extLst>
                </a:gridCol>
              </a:tblGrid>
              <a:tr h="510571">
                <a:tc>
                  <a:txBody>
                    <a:bodyPr/>
                    <a:lstStyle/>
                    <a:p>
                      <a:r>
                        <a:rPr lang="nb-NO" dirty="0">
                          <a:solidFill>
                            <a:schemeClr val="tx1"/>
                          </a:solidFill>
                        </a:rPr>
                        <a:t>Velkommen, mål for møtet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dirty="0">
                          <a:solidFill>
                            <a:schemeClr val="tx1"/>
                          </a:solidFill>
                        </a:rPr>
                        <a:t>5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7356267"/>
                  </a:ext>
                </a:extLst>
              </a:tr>
              <a:tr h="403939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dirty="0">
                          <a:solidFill>
                            <a:schemeClr val="tx1"/>
                          </a:solidFill>
                        </a:rPr>
                        <a:t>Om fagrekvirentrollen</a:t>
                      </a:r>
                    </a:p>
                    <a:p>
                      <a:pPr marL="285750" marR="0" lvl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nb-NO" sz="1600" dirty="0">
                          <a:solidFill>
                            <a:schemeClr val="tx1"/>
                          </a:solidFill>
                        </a:rPr>
                        <a:t>Rollebeskrivelse og formålet med rollen </a:t>
                      </a:r>
                    </a:p>
                    <a:p>
                      <a:pPr marL="285750" marR="0" lvl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nb-NO" sz="1600" dirty="0">
                          <a:solidFill>
                            <a:schemeClr val="tx1"/>
                          </a:solidFill>
                        </a:rPr>
                        <a:t>Prosessflyten for fagrekvirent</a:t>
                      </a:r>
                    </a:p>
                    <a:p>
                      <a:pPr marL="285750" marR="0" lvl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nb-NO" sz="1600" dirty="0" err="1">
                          <a:solidFill>
                            <a:schemeClr val="tx1"/>
                          </a:solidFill>
                        </a:rPr>
                        <a:t>Hovedendringer</a:t>
                      </a:r>
                      <a:r>
                        <a:rPr lang="nb-NO" sz="1600" dirty="0">
                          <a:solidFill>
                            <a:schemeClr val="tx1"/>
                          </a:solidFill>
                        </a:rPr>
                        <a:t> fra dagens rolle på NTNU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dirty="0">
                          <a:solidFill>
                            <a:schemeClr val="tx1"/>
                          </a:solidFill>
                        </a:rPr>
                        <a:t>20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5385281"/>
                  </a:ext>
                </a:extLst>
              </a:tr>
              <a:tr h="639571">
                <a:tc>
                  <a:txBody>
                    <a:bodyPr/>
                    <a:lstStyle/>
                    <a:p>
                      <a:r>
                        <a:rPr lang="nb-NO" sz="1600" dirty="0">
                          <a:solidFill>
                            <a:schemeClr val="tx1"/>
                          </a:solidFill>
                        </a:rPr>
                        <a:t>Tips til veien videre – hvordan jobbe med innplassering/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dirty="0">
                          <a:solidFill>
                            <a:schemeClr val="tx1"/>
                          </a:solidFill>
                        </a:rPr>
                        <a:t>10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1162"/>
                  </a:ext>
                </a:extLst>
              </a:tr>
              <a:tr h="677167">
                <a:tc>
                  <a:txBody>
                    <a:bodyPr/>
                    <a:lstStyle/>
                    <a:p>
                      <a:r>
                        <a:rPr lang="nb-NO" sz="1600" dirty="0">
                          <a:solidFill>
                            <a:schemeClr val="tx1"/>
                          </a:solidFill>
                        </a:rPr>
                        <a:t>Spørsmål og svar - </a:t>
                      </a:r>
                      <a:r>
                        <a:rPr lang="nb-NO" sz="1600" dirty="0" err="1">
                          <a:solidFill>
                            <a:schemeClr val="tx1"/>
                          </a:solidFill>
                        </a:rPr>
                        <a:t>Menti</a:t>
                      </a:r>
                      <a:endParaRPr lang="nb-NO" sz="16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dirty="0">
                          <a:solidFill>
                            <a:schemeClr val="tx1"/>
                          </a:solidFill>
                        </a:rPr>
                        <a:t>20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2691380"/>
                  </a:ext>
                </a:extLst>
              </a:tr>
              <a:tr h="639571">
                <a:tc>
                  <a:txBody>
                    <a:bodyPr/>
                    <a:lstStyle/>
                    <a:p>
                      <a:r>
                        <a:rPr lang="nb-NO" sz="1600" dirty="0">
                          <a:solidFill>
                            <a:schemeClr val="bg1"/>
                          </a:solidFill>
                        </a:rPr>
                        <a:t>Avslutning</a:t>
                      </a:r>
                    </a:p>
                  </a:txBody>
                  <a:tcPr>
                    <a:solidFill>
                      <a:srgbClr val="0D347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dirty="0">
                          <a:solidFill>
                            <a:schemeClr val="bg1"/>
                          </a:solidFill>
                        </a:rPr>
                        <a:t>5</a:t>
                      </a:r>
                    </a:p>
                  </a:txBody>
                  <a:tcPr>
                    <a:solidFill>
                      <a:srgbClr val="0D34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436815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0172337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5FD3C8-9491-4823-8333-44B69CC483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nb-NO"/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94C2FC-6200-440B-85E5-FF627608D03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52488" y="3602725"/>
            <a:ext cx="6435960" cy="1628238"/>
          </a:xfrm>
        </p:spPr>
        <p:txBody>
          <a:bodyPr>
            <a:normAutofit/>
          </a:bodyPr>
          <a:lstStyle/>
          <a:p>
            <a:pPr lvl="1"/>
            <a:endParaRPr lang="nb-NO"/>
          </a:p>
          <a:p>
            <a:endParaRPr lang="nb-NO"/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9CEC64A9-177F-4F35-BFC9-924D072343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47592490"/>
              </p:ext>
            </p:extLst>
          </p:nvPr>
        </p:nvGraphicFramePr>
        <p:xfrm>
          <a:off x="402393" y="1275556"/>
          <a:ext cx="7700726" cy="35336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181967">
                  <a:extLst>
                    <a:ext uri="{9D8B030D-6E8A-4147-A177-3AD203B41FA5}">
                      <a16:colId xmlns:a16="http://schemas.microsoft.com/office/drawing/2014/main" val="3031343381"/>
                    </a:ext>
                  </a:extLst>
                </a:gridCol>
                <a:gridCol w="1518759">
                  <a:extLst>
                    <a:ext uri="{9D8B030D-6E8A-4147-A177-3AD203B41FA5}">
                      <a16:colId xmlns:a16="http://schemas.microsoft.com/office/drawing/2014/main" val="2136914587"/>
                    </a:ext>
                  </a:extLst>
                </a:gridCol>
              </a:tblGrid>
              <a:tr h="510571">
                <a:tc>
                  <a:txBody>
                    <a:bodyPr/>
                    <a:lstStyle/>
                    <a:p>
                      <a:r>
                        <a:rPr lang="nb-NO" dirty="0">
                          <a:solidFill>
                            <a:schemeClr val="bg1"/>
                          </a:solidFill>
                        </a:rPr>
                        <a:t>Velkommen, mål for møtet</a:t>
                      </a:r>
                    </a:p>
                  </a:txBody>
                  <a:tcP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dirty="0">
                          <a:solidFill>
                            <a:schemeClr val="bg1"/>
                          </a:solidFill>
                        </a:rPr>
                        <a:t>5 min</a:t>
                      </a:r>
                    </a:p>
                  </a:txBody>
                  <a:tcP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7356267"/>
                  </a:ext>
                </a:extLst>
              </a:tr>
              <a:tr h="403939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dirty="0"/>
                        <a:t>Om fagrekvirentrollen</a:t>
                      </a:r>
                    </a:p>
                    <a:p>
                      <a:pPr marL="285750" marR="0" lvl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nb-NO" sz="1600" dirty="0"/>
                        <a:t>Rollebeskrivelse og formålet med rollen </a:t>
                      </a:r>
                    </a:p>
                    <a:p>
                      <a:pPr marL="285750" marR="0" lvl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nb-NO" sz="1600" dirty="0"/>
                        <a:t>Prosessflyten for fagrekvirent</a:t>
                      </a:r>
                    </a:p>
                    <a:p>
                      <a:pPr marL="285750" marR="0" lvl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nb-NO" sz="1600" dirty="0" err="1"/>
                        <a:t>Hovedendringer</a:t>
                      </a:r>
                      <a:r>
                        <a:rPr lang="nb-NO" sz="1600" dirty="0"/>
                        <a:t> fra dagens rolle på NTNU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/>
                        <a:t>20 mi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95385281"/>
                  </a:ext>
                </a:extLst>
              </a:tr>
              <a:tr h="639571">
                <a:tc>
                  <a:txBody>
                    <a:bodyPr/>
                    <a:lstStyle/>
                    <a:p>
                      <a:r>
                        <a:rPr lang="nb-NO" sz="1600" dirty="0"/>
                        <a:t>Tips til veien videre – hvordan jobbe med innplasser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/>
                        <a:t>10 mi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271162"/>
                  </a:ext>
                </a:extLst>
              </a:tr>
              <a:tr h="677167">
                <a:tc>
                  <a:txBody>
                    <a:bodyPr/>
                    <a:lstStyle/>
                    <a:p>
                      <a:r>
                        <a:rPr lang="nb-NO" sz="1600" dirty="0"/>
                        <a:t>Spørsmål og svar - </a:t>
                      </a:r>
                      <a:r>
                        <a:rPr lang="nb-NO" sz="1600" dirty="0" err="1"/>
                        <a:t>Menti</a:t>
                      </a:r>
                      <a:endParaRPr lang="nb-NO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/>
                        <a:t>20 mi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92691380"/>
                  </a:ext>
                </a:extLst>
              </a:tr>
              <a:tr h="639571">
                <a:tc>
                  <a:txBody>
                    <a:bodyPr/>
                    <a:lstStyle/>
                    <a:p>
                      <a:r>
                        <a:rPr lang="nb-NO" sz="1600" dirty="0"/>
                        <a:t>Avslut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/>
                        <a:t>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8436815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325407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05A046F-C2A3-4431-9059-86CB6D68D80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754177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05A046F-C2A3-4431-9059-86CB6D68D8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9794632-94F0-451D-972B-025EC8E86D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 dirty="0"/>
              <a:t>Spørsmål og svar - </a:t>
            </a:r>
            <a:r>
              <a:rPr lang="nb-NO" dirty="0" err="1"/>
              <a:t>menti</a:t>
            </a:r>
            <a:endParaRPr lang="nb-NO" dirty="0"/>
          </a:p>
        </p:txBody>
      </p:sp>
      <p:pic>
        <p:nvPicPr>
          <p:cNvPr id="4" name="Graphic 3" descr="Questions with solid fill">
            <a:extLst>
              <a:ext uri="{FF2B5EF4-FFF2-40B4-BE49-F238E27FC236}">
                <a16:creationId xmlns:a16="http://schemas.microsoft.com/office/drawing/2014/main" id="{E1926C42-1E95-42F2-92E2-23C6EC6ECC5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846394" y="967558"/>
            <a:ext cx="3322502" cy="332250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4E14158-7A29-4054-888A-CAE64B20946A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5003"/>
          <a:stretch/>
        </p:blipFill>
        <p:spPr>
          <a:xfrm>
            <a:off x="2127767" y="4290060"/>
            <a:ext cx="4888466" cy="441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496169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5FD3C8-9491-4823-8333-44B69CC483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nb-NO"/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94C2FC-6200-440B-85E5-FF627608D03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52488" y="3602725"/>
            <a:ext cx="6435960" cy="1628238"/>
          </a:xfrm>
        </p:spPr>
        <p:txBody>
          <a:bodyPr>
            <a:normAutofit/>
          </a:bodyPr>
          <a:lstStyle/>
          <a:p>
            <a:pPr lvl="1"/>
            <a:endParaRPr lang="nb-NO"/>
          </a:p>
          <a:p>
            <a:endParaRPr lang="nb-NO"/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9CEC64A9-177F-4F35-BFC9-924D072343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9782794"/>
              </p:ext>
            </p:extLst>
          </p:nvPr>
        </p:nvGraphicFramePr>
        <p:xfrm>
          <a:off x="402393" y="1275556"/>
          <a:ext cx="7700726" cy="35336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181967">
                  <a:extLst>
                    <a:ext uri="{9D8B030D-6E8A-4147-A177-3AD203B41FA5}">
                      <a16:colId xmlns:a16="http://schemas.microsoft.com/office/drawing/2014/main" val="3031343381"/>
                    </a:ext>
                  </a:extLst>
                </a:gridCol>
                <a:gridCol w="1518759">
                  <a:extLst>
                    <a:ext uri="{9D8B030D-6E8A-4147-A177-3AD203B41FA5}">
                      <a16:colId xmlns:a16="http://schemas.microsoft.com/office/drawing/2014/main" val="2136914587"/>
                    </a:ext>
                  </a:extLst>
                </a:gridCol>
              </a:tblGrid>
              <a:tr h="510571">
                <a:tc>
                  <a:txBody>
                    <a:bodyPr/>
                    <a:lstStyle/>
                    <a:p>
                      <a:r>
                        <a:rPr lang="nb-NO" dirty="0">
                          <a:solidFill>
                            <a:schemeClr val="tx1"/>
                          </a:solidFill>
                        </a:rPr>
                        <a:t>Velkommen, mål for møtet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dirty="0">
                          <a:solidFill>
                            <a:schemeClr val="tx1"/>
                          </a:solidFill>
                        </a:rPr>
                        <a:t>5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7356267"/>
                  </a:ext>
                </a:extLst>
              </a:tr>
              <a:tr h="403939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dirty="0">
                          <a:solidFill>
                            <a:schemeClr val="bg1"/>
                          </a:solidFill>
                        </a:rPr>
                        <a:t>Om fagrekvirentrollen</a:t>
                      </a:r>
                    </a:p>
                    <a:p>
                      <a:pPr marL="285750" marR="0" lvl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nb-NO" sz="1600" dirty="0">
                          <a:solidFill>
                            <a:schemeClr val="bg1"/>
                          </a:solidFill>
                        </a:rPr>
                        <a:t>Rollebeskrivelse og formålet med rollen </a:t>
                      </a:r>
                    </a:p>
                    <a:p>
                      <a:pPr marL="285750" marR="0" lvl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nb-NO" sz="1600" dirty="0">
                          <a:solidFill>
                            <a:schemeClr val="bg1"/>
                          </a:solidFill>
                        </a:rPr>
                        <a:t>Prosessflyten for fagrekvirent</a:t>
                      </a:r>
                    </a:p>
                    <a:p>
                      <a:pPr marL="285750" marR="0" lvl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nb-NO" sz="1600" dirty="0" err="1">
                          <a:solidFill>
                            <a:schemeClr val="bg1"/>
                          </a:solidFill>
                        </a:rPr>
                        <a:t>Hovedendringer</a:t>
                      </a:r>
                      <a:r>
                        <a:rPr lang="nb-NO" sz="1600" dirty="0">
                          <a:solidFill>
                            <a:schemeClr val="bg1"/>
                          </a:solidFill>
                        </a:rPr>
                        <a:t> fra dagens rolle på NTNU</a:t>
                      </a:r>
                    </a:p>
                  </a:txBody>
                  <a:tcPr>
                    <a:solidFill>
                      <a:srgbClr val="0D347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dirty="0">
                          <a:solidFill>
                            <a:schemeClr val="bg1"/>
                          </a:solidFill>
                        </a:rPr>
                        <a:t>20 min</a:t>
                      </a:r>
                    </a:p>
                  </a:txBody>
                  <a:tcPr>
                    <a:solidFill>
                      <a:srgbClr val="0D34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5385281"/>
                  </a:ext>
                </a:extLst>
              </a:tr>
              <a:tr h="639571">
                <a:tc>
                  <a:txBody>
                    <a:bodyPr/>
                    <a:lstStyle/>
                    <a:p>
                      <a:r>
                        <a:rPr lang="nb-NO" sz="1600" dirty="0"/>
                        <a:t>Tips til veien videre – hvordan jobbe med innplasser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/>
                        <a:t>10 mi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271162"/>
                  </a:ext>
                </a:extLst>
              </a:tr>
              <a:tr h="677167">
                <a:tc>
                  <a:txBody>
                    <a:bodyPr/>
                    <a:lstStyle/>
                    <a:p>
                      <a:r>
                        <a:rPr lang="nb-NO" sz="1600" dirty="0"/>
                        <a:t>Spørsmål og svar - </a:t>
                      </a:r>
                      <a:r>
                        <a:rPr lang="nb-NO" sz="1600" dirty="0" err="1"/>
                        <a:t>Menti</a:t>
                      </a:r>
                      <a:endParaRPr lang="nb-NO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/>
                        <a:t>20 mi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92691380"/>
                  </a:ext>
                </a:extLst>
              </a:tr>
              <a:tr h="639571">
                <a:tc>
                  <a:txBody>
                    <a:bodyPr/>
                    <a:lstStyle/>
                    <a:p>
                      <a:r>
                        <a:rPr lang="nb-NO" sz="1600" dirty="0"/>
                        <a:t>Avslut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/>
                        <a:t>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8436815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170805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713B360-6832-4579-9F39-37C46A2B0E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2670411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713B360-6832-4579-9F39-37C46A2B0E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ktangel 7">
            <a:extLst>
              <a:ext uri="{FF2B5EF4-FFF2-40B4-BE49-F238E27FC236}">
                <a16:creationId xmlns:a16="http://schemas.microsoft.com/office/drawing/2014/main" id="{7C8AA404-1545-4DC3-8463-E58A155F88BE}"/>
              </a:ext>
            </a:extLst>
          </p:cNvPr>
          <p:cNvSpPr/>
          <p:nvPr/>
        </p:nvSpPr>
        <p:spPr>
          <a:xfrm>
            <a:off x="460611" y="1735079"/>
            <a:ext cx="1608586" cy="188623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/>
            <a:endParaRPr lang="nb-NO" sz="1350" dirty="0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5" name="Rektangel 6">
            <a:extLst>
              <a:ext uri="{FF2B5EF4-FFF2-40B4-BE49-F238E27FC236}">
                <a16:creationId xmlns:a16="http://schemas.microsoft.com/office/drawing/2014/main" id="{6D1DD5A1-4DE5-429C-A09D-6777DDAC2252}"/>
              </a:ext>
            </a:extLst>
          </p:cNvPr>
          <p:cNvSpPr/>
          <p:nvPr/>
        </p:nvSpPr>
        <p:spPr>
          <a:xfrm>
            <a:off x="460611" y="1017328"/>
            <a:ext cx="8168132" cy="537328"/>
          </a:xfrm>
          <a:prstGeom prst="rect">
            <a:avLst/>
          </a:prstGeom>
          <a:solidFill>
            <a:schemeClr val="accent1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/>
            <a:r>
              <a:rPr lang="nb-NO" sz="1350" dirty="0">
                <a:solidFill>
                  <a:srgbClr val="FFFFFF"/>
                </a:solidFill>
                <a:latin typeface="Arial" panose="020B0604020202020204"/>
              </a:rPr>
              <a:t>Formålet med rollen </a:t>
            </a:r>
            <a:r>
              <a:rPr lang="nb-NO" sz="1350" b="1" dirty="0">
                <a:solidFill>
                  <a:srgbClr val="FFFFFF"/>
                </a:solidFill>
                <a:latin typeface="Arial" panose="020B0604020202020204"/>
              </a:rPr>
              <a:t>Fagrevirent </a:t>
            </a:r>
            <a:r>
              <a:rPr lang="nb-NO" sz="1350" dirty="0">
                <a:solidFill>
                  <a:srgbClr val="FFFFFF"/>
                </a:solidFill>
                <a:latin typeface="Arial" panose="020B0604020202020204"/>
              </a:rPr>
              <a:t>er å sørge for opprettelse av innkjøpsforespørsler av varer og tjenester innenfor sitt fagområde </a:t>
            </a:r>
          </a:p>
        </p:txBody>
      </p:sp>
      <p:sp>
        <p:nvSpPr>
          <p:cNvPr id="7" name="TekstSylinder 2">
            <a:extLst>
              <a:ext uri="{FF2B5EF4-FFF2-40B4-BE49-F238E27FC236}">
                <a16:creationId xmlns:a16="http://schemas.microsoft.com/office/drawing/2014/main" id="{F8527C33-0580-43A1-869B-461B68DC2AAA}"/>
              </a:ext>
            </a:extLst>
          </p:cNvPr>
          <p:cNvSpPr txBox="1"/>
          <p:nvPr/>
        </p:nvSpPr>
        <p:spPr>
          <a:xfrm>
            <a:off x="2069197" y="1735079"/>
            <a:ext cx="203132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78"/>
            <a:r>
              <a:rPr lang="nb-NO" sz="1050" b="1" dirty="0">
                <a:solidFill>
                  <a:prstClr val="black"/>
                </a:solidFill>
                <a:latin typeface="Arial"/>
              </a:rPr>
              <a:t>Sentrale oppgaver for rollen*</a:t>
            </a:r>
          </a:p>
        </p:txBody>
      </p:sp>
      <p:sp>
        <p:nvSpPr>
          <p:cNvPr id="8" name="Rektangel 19">
            <a:extLst>
              <a:ext uri="{FF2B5EF4-FFF2-40B4-BE49-F238E27FC236}">
                <a16:creationId xmlns:a16="http://schemas.microsoft.com/office/drawing/2014/main" id="{81AF0185-6617-442A-9C9B-48221C870153}"/>
              </a:ext>
            </a:extLst>
          </p:cNvPr>
          <p:cNvSpPr/>
          <p:nvPr/>
        </p:nvSpPr>
        <p:spPr>
          <a:xfrm>
            <a:off x="2157259" y="2033427"/>
            <a:ext cx="4145570" cy="322864"/>
          </a:xfrm>
          <a:prstGeom prst="rect">
            <a:avLst/>
          </a:prstGeom>
          <a:solidFill>
            <a:srgbClr val="B6C8E9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378"/>
            <a:r>
              <a:rPr lang="nb-NO" sz="1050" dirty="0">
                <a:solidFill>
                  <a:prstClr val="black"/>
                </a:solidFill>
                <a:latin typeface="Arial"/>
              </a:rPr>
              <a:t>Opprette innkjøpsforespørsel basert på innmeldt behov i</a:t>
            </a:r>
          </a:p>
          <a:p>
            <a:pPr defTabSz="914378"/>
            <a:r>
              <a:rPr lang="nb-NO" sz="1050" dirty="0">
                <a:solidFill>
                  <a:prstClr val="black"/>
                </a:solidFill>
                <a:latin typeface="Arial"/>
              </a:rPr>
              <a:t>Unit4 ERP</a:t>
            </a:r>
          </a:p>
        </p:txBody>
      </p:sp>
      <p:sp>
        <p:nvSpPr>
          <p:cNvPr id="10" name="Rektangel 19">
            <a:extLst>
              <a:ext uri="{FF2B5EF4-FFF2-40B4-BE49-F238E27FC236}">
                <a16:creationId xmlns:a16="http://schemas.microsoft.com/office/drawing/2014/main" id="{A5B67B4C-07CC-4FC2-B350-46A63A6ACA6D}"/>
              </a:ext>
            </a:extLst>
          </p:cNvPr>
          <p:cNvSpPr/>
          <p:nvPr/>
        </p:nvSpPr>
        <p:spPr>
          <a:xfrm>
            <a:off x="2157259" y="2438082"/>
            <a:ext cx="4145570" cy="339883"/>
          </a:xfrm>
          <a:prstGeom prst="rect">
            <a:avLst/>
          </a:prstGeom>
          <a:solidFill>
            <a:srgbClr val="B6C8E9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378"/>
            <a:r>
              <a:rPr lang="nb-NO" sz="1050" dirty="0">
                <a:solidFill>
                  <a:prstClr val="black"/>
                </a:solidFill>
                <a:latin typeface="Arial"/>
              </a:rPr>
              <a:t>Samarbeide med Anskaffelsesrådgiver for behov lik/over 100.000</a:t>
            </a:r>
          </a:p>
        </p:txBody>
      </p:sp>
      <p:sp>
        <p:nvSpPr>
          <p:cNvPr id="11" name="Rektangel 19">
            <a:extLst>
              <a:ext uri="{FF2B5EF4-FFF2-40B4-BE49-F238E27FC236}">
                <a16:creationId xmlns:a16="http://schemas.microsoft.com/office/drawing/2014/main" id="{D4061D49-3770-4E9E-A5D3-877C04449426}"/>
              </a:ext>
            </a:extLst>
          </p:cNvPr>
          <p:cNvSpPr/>
          <p:nvPr/>
        </p:nvSpPr>
        <p:spPr>
          <a:xfrm>
            <a:off x="2157259" y="2859756"/>
            <a:ext cx="4145570" cy="339883"/>
          </a:xfrm>
          <a:prstGeom prst="rect">
            <a:avLst/>
          </a:prstGeom>
          <a:solidFill>
            <a:srgbClr val="B6C8E9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378"/>
            <a:r>
              <a:rPr lang="nb-NO" sz="1050" dirty="0">
                <a:solidFill>
                  <a:prstClr val="black"/>
                </a:solidFill>
                <a:latin typeface="Arial"/>
              </a:rPr>
              <a:t>Registrere varemottak i Unit4 ERP</a:t>
            </a:r>
          </a:p>
        </p:txBody>
      </p:sp>
      <p:sp>
        <p:nvSpPr>
          <p:cNvPr id="12" name="Rektangel 19">
            <a:extLst>
              <a:ext uri="{FF2B5EF4-FFF2-40B4-BE49-F238E27FC236}">
                <a16:creationId xmlns:a16="http://schemas.microsoft.com/office/drawing/2014/main" id="{F4658979-7B79-4F9D-9605-BB77F332F10A}"/>
              </a:ext>
            </a:extLst>
          </p:cNvPr>
          <p:cNvSpPr/>
          <p:nvPr/>
        </p:nvSpPr>
        <p:spPr>
          <a:xfrm>
            <a:off x="2152655" y="3281431"/>
            <a:ext cx="4141076" cy="339883"/>
          </a:xfrm>
          <a:prstGeom prst="rect">
            <a:avLst/>
          </a:prstGeom>
          <a:solidFill>
            <a:srgbClr val="B6C8E9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378"/>
            <a:r>
              <a:rPr lang="nb-NO" sz="1050" dirty="0">
                <a:solidFill>
                  <a:prstClr val="black"/>
                </a:solidFill>
                <a:latin typeface="Arial"/>
              </a:rPr>
              <a:t>Melde avvik på avtaler innenfor sitt fagområde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755B4A8-2215-478F-864E-8BDAD7E454DC}"/>
              </a:ext>
            </a:extLst>
          </p:cNvPr>
          <p:cNvSpPr txBox="1"/>
          <p:nvPr/>
        </p:nvSpPr>
        <p:spPr>
          <a:xfrm>
            <a:off x="371347" y="3909741"/>
            <a:ext cx="8257396" cy="715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nb-NO" sz="1350" dirty="0">
                <a:solidFill>
                  <a:srgbClr val="000000"/>
                </a:solidFill>
                <a:latin typeface="Arial" panose="020B0604020202020204"/>
              </a:rPr>
              <a:t>Det anbefales at fagrekvirent er en faglig ressurs som kjenner den enkelte arbeidsgruppes (f.eks. forskningsgruppe) virksomhet og behov, samt skal kunne dekke flere enheter innenfor ett fag.</a:t>
            </a:r>
          </a:p>
          <a:p>
            <a:pPr defTabSz="685800"/>
            <a:endParaRPr lang="nb-NO" sz="1350" dirty="0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ED6677F5-520C-4463-987D-9A62AEC94A32}"/>
              </a:ext>
            </a:extLst>
          </p:cNvPr>
          <p:cNvSpPr txBox="1">
            <a:spLocks/>
          </p:cNvSpPr>
          <p:nvPr/>
        </p:nvSpPr>
        <p:spPr>
          <a:xfrm>
            <a:off x="301385" y="298339"/>
            <a:ext cx="8418747" cy="394051"/>
          </a:xfrm>
          <a:prstGeom prst="rect">
            <a:avLst/>
          </a:prstGeom>
        </p:spPr>
        <p:txBody>
          <a:bodyPr vert="horz" wrap="square" lIns="67500" tIns="35100" rIns="67500" bIns="35100" rtlCol="0" anchor="t" anchorCtr="0">
            <a:spAutoFit/>
          </a:bodyPr>
          <a:lstStyle>
            <a:lvl1pPr algn="l" defTabSz="609585" rtl="0" eaLnBrk="1" latinLnBrk="0" hangingPunct="1">
              <a:spcBef>
                <a:spcPct val="0"/>
              </a:spcBef>
              <a:buNone/>
              <a:defRPr sz="48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defTabSz="457189"/>
            <a:r>
              <a:rPr lang="nb-NO" sz="2100" dirty="0">
                <a:solidFill>
                  <a:srgbClr val="000000"/>
                </a:solidFill>
              </a:rPr>
              <a:t>Fagrekvirent</a:t>
            </a:r>
          </a:p>
        </p:txBody>
      </p:sp>
      <p:sp>
        <p:nvSpPr>
          <p:cNvPr id="17" name="Rektangel 7">
            <a:extLst>
              <a:ext uri="{FF2B5EF4-FFF2-40B4-BE49-F238E27FC236}">
                <a16:creationId xmlns:a16="http://schemas.microsoft.com/office/drawing/2014/main" id="{2BE1C12F-E477-4C6D-9542-ECC8442B8901}"/>
              </a:ext>
            </a:extLst>
          </p:cNvPr>
          <p:cNvSpPr/>
          <p:nvPr/>
        </p:nvSpPr>
        <p:spPr>
          <a:xfrm>
            <a:off x="6380618" y="2033428"/>
            <a:ext cx="2248125" cy="15878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8588" indent="-128588" defTabSz="685800">
              <a:buFont typeface="Arial" panose="020B0604020202020204" pitchFamily="34" charset="0"/>
              <a:buChar char="•"/>
            </a:pPr>
            <a:r>
              <a:rPr lang="nb-NO" sz="900" dirty="0">
                <a:solidFill>
                  <a:srgbClr val="000000"/>
                </a:solidFill>
                <a:latin typeface="Arial" panose="020B0604020202020204"/>
              </a:rPr>
              <a:t>Særskilt kunnskap på sitt definerte fagområde </a:t>
            </a:r>
          </a:p>
          <a:p>
            <a:pPr marL="128588" indent="-128588" defTabSz="685800">
              <a:buFont typeface="Arial" panose="020B0604020202020204" pitchFamily="34" charset="0"/>
              <a:buChar char="•"/>
            </a:pPr>
            <a:r>
              <a:rPr lang="nb-NO" sz="900" dirty="0">
                <a:solidFill>
                  <a:srgbClr val="000000"/>
                </a:solidFill>
                <a:latin typeface="Arial" panose="020B0604020202020204"/>
              </a:rPr>
              <a:t>Kunnskap om avtaleportefølje innenfor sitt område og de varer og tjenester som disse avtalene omfatter </a:t>
            </a:r>
          </a:p>
          <a:p>
            <a:pPr marL="128588" indent="-128588" defTabSz="685800">
              <a:buFont typeface="Arial" panose="020B0604020202020204" pitchFamily="34" charset="0"/>
              <a:buChar char="•"/>
            </a:pPr>
            <a:r>
              <a:rPr lang="nb-NO" sz="900" dirty="0">
                <a:solidFill>
                  <a:srgbClr val="000000"/>
                </a:solidFill>
                <a:latin typeface="Arial" panose="020B0604020202020204"/>
              </a:rPr>
              <a:t>Kunne opprette innkjøpsforespørsel i UNIT4 ERP</a:t>
            </a:r>
          </a:p>
          <a:p>
            <a:pPr marL="128588" indent="-128588" defTabSz="685800">
              <a:buFont typeface="Arial" panose="020B0604020202020204" pitchFamily="34" charset="0"/>
              <a:buChar char="•"/>
            </a:pPr>
            <a:r>
              <a:rPr lang="nb-NO" sz="900" dirty="0">
                <a:solidFill>
                  <a:srgbClr val="000000"/>
                </a:solidFill>
                <a:latin typeface="Arial" panose="020B0604020202020204"/>
              </a:rPr>
              <a:t>Rutiner i </a:t>
            </a:r>
            <a:r>
              <a:rPr lang="nb-NO" sz="900" dirty="0" err="1">
                <a:solidFill>
                  <a:srgbClr val="000000"/>
                </a:solidFill>
                <a:latin typeface="Arial" panose="020B0604020202020204"/>
              </a:rPr>
              <a:t>btb</a:t>
            </a:r>
            <a:r>
              <a:rPr lang="nb-NO" sz="900" dirty="0">
                <a:solidFill>
                  <a:srgbClr val="000000"/>
                </a:solidFill>
                <a:latin typeface="Arial" panose="020B0604020202020204"/>
              </a:rPr>
              <a:t>-prosessen</a:t>
            </a:r>
          </a:p>
          <a:p>
            <a:pPr marL="128588" indent="-128588" defTabSz="685800">
              <a:buFont typeface="Arial" panose="020B0604020202020204" pitchFamily="34" charset="0"/>
              <a:buChar char="•"/>
            </a:pPr>
            <a:r>
              <a:rPr lang="nb-NO" sz="900" dirty="0">
                <a:solidFill>
                  <a:srgbClr val="000000"/>
                </a:solidFill>
                <a:latin typeface="Arial" panose="020B0604020202020204"/>
              </a:rPr>
              <a:t>Reglement for økonomistyring i staten </a:t>
            </a:r>
          </a:p>
        </p:txBody>
      </p:sp>
      <p:sp>
        <p:nvSpPr>
          <p:cNvPr id="18" name="TekstSylinder 2">
            <a:extLst>
              <a:ext uri="{FF2B5EF4-FFF2-40B4-BE49-F238E27FC236}">
                <a16:creationId xmlns:a16="http://schemas.microsoft.com/office/drawing/2014/main" id="{E8A051A5-33D8-463D-AF17-966FB96BFE66}"/>
              </a:ext>
            </a:extLst>
          </p:cNvPr>
          <p:cNvSpPr txBox="1"/>
          <p:nvPr/>
        </p:nvSpPr>
        <p:spPr>
          <a:xfrm>
            <a:off x="6309360" y="1768711"/>
            <a:ext cx="127310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78"/>
            <a:r>
              <a:rPr lang="nb-NO" sz="1050" b="1" dirty="0">
                <a:solidFill>
                  <a:prstClr val="black"/>
                </a:solidFill>
                <a:latin typeface="Arial"/>
              </a:rPr>
              <a:t>Kompetansekrav</a:t>
            </a:r>
          </a:p>
        </p:txBody>
      </p:sp>
      <p:sp>
        <p:nvSpPr>
          <p:cNvPr id="21" name="Rektangel 7">
            <a:extLst>
              <a:ext uri="{FF2B5EF4-FFF2-40B4-BE49-F238E27FC236}">
                <a16:creationId xmlns:a16="http://schemas.microsoft.com/office/drawing/2014/main" id="{34287469-F5F6-4BEB-979D-DA92EA9FBED5}"/>
              </a:ext>
            </a:extLst>
          </p:cNvPr>
          <p:cNvSpPr/>
          <p:nvPr/>
        </p:nvSpPr>
        <p:spPr>
          <a:xfrm>
            <a:off x="609752" y="1898215"/>
            <a:ext cx="1306134" cy="155931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/>
            <a:endParaRPr lang="nb-NO" sz="1350" dirty="0">
              <a:solidFill>
                <a:srgbClr val="000000"/>
              </a:solidFill>
              <a:latin typeface="Arial" panose="020B0604020202020204"/>
            </a:endParaRPr>
          </a:p>
        </p:txBody>
      </p:sp>
      <p:pic>
        <p:nvPicPr>
          <p:cNvPr id="23" name="Picture 22" descr="Icon&#10;&#10;Description automatically generated">
            <a:extLst>
              <a:ext uri="{FF2B5EF4-FFF2-40B4-BE49-F238E27FC236}">
                <a16:creationId xmlns:a16="http://schemas.microsoft.com/office/drawing/2014/main" id="{275D363B-E2AF-4D13-8AA0-88E3597FDE4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5016" y="1869349"/>
            <a:ext cx="1383594" cy="1468937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066D631D-1D7C-4B3D-961F-8AB273F27901}"/>
              </a:ext>
            </a:extLst>
          </p:cNvPr>
          <p:cNvSpPr txBox="1"/>
          <p:nvPr/>
        </p:nvSpPr>
        <p:spPr>
          <a:xfrm>
            <a:off x="5713077" y="4814470"/>
            <a:ext cx="457802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800" i="1" dirty="0"/>
              <a:t>*Se fullstendige beskrivelse av oppgaver i rollebeskrivelse </a:t>
            </a:r>
          </a:p>
        </p:txBody>
      </p:sp>
    </p:spTree>
    <p:extLst>
      <p:ext uri="{BB962C8B-B14F-4D97-AF65-F5344CB8AC3E}">
        <p14:creationId xmlns:p14="http://schemas.microsoft.com/office/powerpoint/2010/main" val="387545824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770C0C2-48A6-41CA-8DEF-887B4D9A40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3608983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770C0C2-48A6-41CA-8DEF-887B4D9A40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Google Shape;80;p14">
            <a:extLst>
              <a:ext uri="{FF2B5EF4-FFF2-40B4-BE49-F238E27FC236}">
                <a16:creationId xmlns:a16="http://schemas.microsoft.com/office/drawing/2014/main" id="{56948ECB-4AF6-4D10-A5B4-9339EA0B388E}"/>
              </a:ext>
            </a:extLst>
          </p:cNvPr>
          <p:cNvSpPr txBox="1">
            <a:spLocks/>
          </p:cNvSpPr>
          <p:nvPr/>
        </p:nvSpPr>
        <p:spPr>
          <a:xfrm>
            <a:off x="677226" y="213400"/>
            <a:ext cx="835484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defTabSz="685800">
              <a:buClr>
                <a:srgbClr val="000000"/>
              </a:buClr>
            </a:pPr>
            <a:r>
              <a:rPr lang="nb-NO" sz="2250" b="1" kern="0" dirty="0">
                <a:solidFill>
                  <a:srgbClr val="32756D"/>
                </a:solidFill>
              </a:rPr>
              <a:t>Fagrekvirent</a:t>
            </a:r>
          </a:p>
        </p:txBody>
      </p:sp>
      <p:sp>
        <p:nvSpPr>
          <p:cNvPr id="61" name="Google Shape;64;p14">
            <a:extLst>
              <a:ext uri="{FF2B5EF4-FFF2-40B4-BE49-F238E27FC236}">
                <a16:creationId xmlns:a16="http://schemas.microsoft.com/office/drawing/2014/main" id="{CC066902-3D16-4CE2-BCB4-FDAABD4443C1}"/>
              </a:ext>
            </a:extLst>
          </p:cNvPr>
          <p:cNvSpPr/>
          <p:nvPr/>
        </p:nvSpPr>
        <p:spPr>
          <a:xfrm>
            <a:off x="120375" y="777900"/>
            <a:ext cx="2460300" cy="699052"/>
          </a:xfrm>
          <a:prstGeom prst="rect">
            <a:avLst/>
          </a:prstGeom>
          <a:solidFill>
            <a:srgbClr val="EEEEEE">
              <a:alpha val="4916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defTabSz="914378">
              <a:buClr>
                <a:srgbClr val="000000"/>
              </a:buClr>
            </a:pPr>
            <a:endParaRPr sz="1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grpSp>
        <p:nvGrpSpPr>
          <p:cNvPr id="62" name="Google Shape;65;p14">
            <a:extLst>
              <a:ext uri="{FF2B5EF4-FFF2-40B4-BE49-F238E27FC236}">
                <a16:creationId xmlns:a16="http://schemas.microsoft.com/office/drawing/2014/main" id="{789CCB19-4FB7-428A-B65D-4B5FA61371B3}"/>
              </a:ext>
            </a:extLst>
          </p:cNvPr>
          <p:cNvGrpSpPr/>
          <p:nvPr/>
        </p:nvGrpSpPr>
        <p:grpSpPr>
          <a:xfrm>
            <a:off x="271008" y="899252"/>
            <a:ext cx="193942" cy="196476"/>
            <a:chOff x="1666956" y="1240325"/>
            <a:chExt cx="303984" cy="308004"/>
          </a:xfrm>
        </p:grpSpPr>
        <p:sp>
          <p:nvSpPr>
            <p:cNvPr id="63" name="Google Shape;66;p14">
              <a:extLst>
                <a:ext uri="{FF2B5EF4-FFF2-40B4-BE49-F238E27FC236}">
                  <a16:creationId xmlns:a16="http://schemas.microsoft.com/office/drawing/2014/main" id="{B43BC6A1-06DC-4610-9DEA-C782142585DA}"/>
                </a:ext>
              </a:extLst>
            </p:cNvPr>
            <p:cNvSpPr/>
            <p:nvPr/>
          </p:nvSpPr>
          <p:spPr>
            <a:xfrm>
              <a:off x="1727507" y="1291970"/>
              <a:ext cx="175198" cy="231781"/>
            </a:xfrm>
            <a:custGeom>
              <a:avLst/>
              <a:gdLst/>
              <a:ahLst/>
              <a:cxnLst/>
              <a:rect l="l" t="t" r="r" b="b"/>
              <a:pathLst>
                <a:path w="570" h="745" extrusionOk="0">
                  <a:moveTo>
                    <a:pt x="383" y="1"/>
                  </a:moveTo>
                  <a:cubicBezTo>
                    <a:pt x="357" y="1"/>
                    <a:pt x="293" y="1"/>
                    <a:pt x="238" y="40"/>
                  </a:cubicBezTo>
                  <a:cubicBezTo>
                    <a:pt x="80" y="43"/>
                    <a:pt x="56" y="119"/>
                    <a:pt x="56" y="191"/>
                  </a:cubicBezTo>
                  <a:cubicBezTo>
                    <a:pt x="56" y="212"/>
                    <a:pt x="61" y="251"/>
                    <a:pt x="64" y="272"/>
                  </a:cubicBezTo>
                  <a:cubicBezTo>
                    <a:pt x="53" y="278"/>
                    <a:pt x="43" y="283"/>
                    <a:pt x="38" y="291"/>
                  </a:cubicBezTo>
                  <a:cubicBezTo>
                    <a:pt x="27" y="299"/>
                    <a:pt x="22" y="317"/>
                    <a:pt x="24" y="333"/>
                  </a:cubicBezTo>
                  <a:lnTo>
                    <a:pt x="35" y="409"/>
                  </a:lnTo>
                  <a:cubicBezTo>
                    <a:pt x="38" y="433"/>
                    <a:pt x="56" y="452"/>
                    <a:pt x="80" y="454"/>
                  </a:cubicBezTo>
                  <a:cubicBezTo>
                    <a:pt x="88" y="507"/>
                    <a:pt x="114" y="560"/>
                    <a:pt x="148" y="599"/>
                  </a:cubicBezTo>
                  <a:lnTo>
                    <a:pt x="135" y="660"/>
                  </a:lnTo>
                  <a:lnTo>
                    <a:pt x="14" y="712"/>
                  </a:lnTo>
                  <a:cubicBezTo>
                    <a:pt x="3" y="718"/>
                    <a:pt x="1" y="726"/>
                    <a:pt x="3" y="733"/>
                  </a:cubicBezTo>
                  <a:cubicBezTo>
                    <a:pt x="9" y="742"/>
                    <a:pt x="14" y="745"/>
                    <a:pt x="20" y="745"/>
                  </a:cubicBezTo>
                  <a:cubicBezTo>
                    <a:pt x="22" y="745"/>
                    <a:pt x="25" y="745"/>
                    <a:pt x="27" y="744"/>
                  </a:cubicBezTo>
                  <a:lnTo>
                    <a:pt x="159" y="689"/>
                  </a:lnTo>
                  <a:cubicBezTo>
                    <a:pt x="167" y="689"/>
                    <a:pt x="169" y="686"/>
                    <a:pt x="169" y="678"/>
                  </a:cubicBezTo>
                  <a:lnTo>
                    <a:pt x="188" y="602"/>
                  </a:lnTo>
                  <a:cubicBezTo>
                    <a:pt x="193" y="596"/>
                    <a:pt x="188" y="589"/>
                    <a:pt x="185" y="586"/>
                  </a:cubicBezTo>
                  <a:cubicBezTo>
                    <a:pt x="146" y="549"/>
                    <a:pt x="119" y="494"/>
                    <a:pt x="117" y="441"/>
                  </a:cubicBezTo>
                  <a:cubicBezTo>
                    <a:pt x="117" y="430"/>
                    <a:pt x="109" y="425"/>
                    <a:pt x="101" y="425"/>
                  </a:cubicBezTo>
                  <a:lnTo>
                    <a:pt x="93" y="425"/>
                  </a:lnTo>
                  <a:cubicBezTo>
                    <a:pt x="82" y="425"/>
                    <a:pt x="75" y="415"/>
                    <a:pt x="75" y="404"/>
                  </a:cubicBezTo>
                  <a:lnTo>
                    <a:pt x="64" y="330"/>
                  </a:lnTo>
                  <a:cubicBezTo>
                    <a:pt x="64" y="322"/>
                    <a:pt x="67" y="317"/>
                    <a:pt x="69" y="312"/>
                  </a:cubicBezTo>
                  <a:cubicBezTo>
                    <a:pt x="75" y="309"/>
                    <a:pt x="80" y="307"/>
                    <a:pt x="88" y="307"/>
                  </a:cubicBezTo>
                  <a:lnTo>
                    <a:pt x="90" y="307"/>
                  </a:lnTo>
                  <a:cubicBezTo>
                    <a:pt x="96" y="307"/>
                    <a:pt x="101" y="304"/>
                    <a:pt x="104" y="301"/>
                  </a:cubicBezTo>
                  <a:cubicBezTo>
                    <a:pt x="106" y="296"/>
                    <a:pt x="106" y="291"/>
                    <a:pt x="106" y="285"/>
                  </a:cubicBezTo>
                  <a:cubicBezTo>
                    <a:pt x="106" y="283"/>
                    <a:pt x="96" y="214"/>
                    <a:pt x="96" y="191"/>
                  </a:cubicBezTo>
                  <a:cubicBezTo>
                    <a:pt x="96" y="127"/>
                    <a:pt x="109" y="72"/>
                    <a:pt x="251" y="72"/>
                  </a:cubicBezTo>
                  <a:cubicBezTo>
                    <a:pt x="254" y="72"/>
                    <a:pt x="259" y="72"/>
                    <a:pt x="262" y="69"/>
                  </a:cubicBezTo>
                  <a:cubicBezTo>
                    <a:pt x="304" y="38"/>
                    <a:pt x="351" y="32"/>
                    <a:pt x="391" y="32"/>
                  </a:cubicBezTo>
                  <a:cubicBezTo>
                    <a:pt x="446" y="32"/>
                    <a:pt x="483" y="51"/>
                    <a:pt x="504" y="83"/>
                  </a:cubicBezTo>
                  <a:cubicBezTo>
                    <a:pt x="530" y="122"/>
                    <a:pt x="523" y="146"/>
                    <a:pt x="509" y="159"/>
                  </a:cubicBezTo>
                  <a:lnTo>
                    <a:pt x="488" y="177"/>
                  </a:lnTo>
                  <a:cubicBezTo>
                    <a:pt x="488" y="183"/>
                    <a:pt x="486" y="185"/>
                    <a:pt x="486" y="188"/>
                  </a:cubicBezTo>
                  <a:lnTo>
                    <a:pt x="483" y="283"/>
                  </a:lnTo>
                  <a:cubicBezTo>
                    <a:pt x="483" y="291"/>
                    <a:pt x="483" y="293"/>
                    <a:pt x="486" y="296"/>
                  </a:cubicBezTo>
                  <a:cubicBezTo>
                    <a:pt x="488" y="301"/>
                    <a:pt x="496" y="304"/>
                    <a:pt x="499" y="304"/>
                  </a:cubicBezTo>
                  <a:cubicBezTo>
                    <a:pt x="504" y="304"/>
                    <a:pt x="512" y="307"/>
                    <a:pt x="515" y="309"/>
                  </a:cubicBezTo>
                  <a:cubicBezTo>
                    <a:pt x="523" y="314"/>
                    <a:pt x="523" y="320"/>
                    <a:pt x="523" y="328"/>
                  </a:cubicBezTo>
                  <a:lnTo>
                    <a:pt x="512" y="401"/>
                  </a:lnTo>
                  <a:cubicBezTo>
                    <a:pt x="512" y="412"/>
                    <a:pt x="501" y="423"/>
                    <a:pt x="488" y="423"/>
                  </a:cubicBezTo>
                  <a:cubicBezTo>
                    <a:pt x="478" y="423"/>
                    <a:pt x="472" y="428"/>
                    <a:pt x="472" y="438"/>
                  </a:cubicBezTo>
                  <a:cubicBezTo>
                    <a:pt x="470" y="494"/>
                    <a:pt x="438" y="552"/>
                    <a:pt x="399" y="586"/>
                  </a:cubicBezTo>
                  <a:cubicBezTo>
                    <a:pt x="396" y="591"/>
                    <a:pt x="396" y="596"/>
                    <a:pt x="396" y="604"/>
                  </a:cubicBezTo>
                  <a:lnTo>
                    <a:pt x="412" y="676"/>
                  </a:lnTo>
                  <a:cubicBezTo>
                    <a:pt x="412" y="678"/>
                    <a:pt x="420" y="683"/>
                    <a:pt x="422" y="686"/>
                  </a:cubicBezTo>
                  <a:lnTo>
                    <a:pt x="554" y="741"/>
                  </a:lnTo>
                  <a:lnTo>
                    <a:pt x="562" y="741"/>
                  </a:lnTo>
                  <a:cubicBezTo>
                    <a:pt x="567" y="741"/>
                    <a:pt x="570" y="739"/>
                    <a:pt x="562" y="733"/>
                  </a:cubicBezTo>
                  <a:cubicBezTo>
                    <a:pt x="565" y="726"/>
                    <a:pt x="562" y="715"/>
                    <a:pt x="552" y="712"/>
                  </a:cubicBezTo>
                  <a:lnTo>
                    <a:pt x="430" y="660"/>
                  </a:lnTo>
                  <a:lnTo>
                    <a:pt x="417" y="604"/>
                  </a:lnTo>
                  <a:cubicBezTo>
                    <a:pt x="457" y="565"/>
                    <a:pt x="483" y="512"/>
                    <a:pt x="488" y="454"/>
                  </a:cubicBezTo>
                  <a:cubicBezTo>
                    <a:pt x="507" y="449"/>
                    <a:pt x="525" y="433"/>
                    <a:pt x="528" y="409"/>
                  </a:cubicBezTo>
                  <a:lnTo>
                    <a:pt x="538" y="333"/>
                  </a:lnTo>
                  <a:cubicBezTo>
                    <a:pt x="541" y="317"/>
                    <a:pt x="536" y="304"/>
                    <a:pt x="525" y="291"/>
                  </a:cubicBezTo>
                  <a:cubicBezTo>
                    <a:pt x="517" y="283"/>
                    <a:pt x="512" y="278"/>
                    <a:pt x="501" y="272"/>
                  </a:cubicBezTo>
                  <a:lnTo>
                    <a:pt x="504" y="199"/>
                  </a:lnTo>
                  <a:lnTo>
                    <a:pt x="523" y="180"/>
                  </a:lnTo>
                  <a:cubicBezTo>
                    <a:pt x="544" y="162"/>
                    <a:pt x="562" y="122"/>
                    <a:pt x="525" y="67"/>
                  </a:cubicBezTo>
                  <a:cubicBezTo>
                    <a:pt x="499" y="22"/>
                    <a:pt x="449" y="1"/>
                    <a:pt x="383" y="1"/>
                  </a:cubicBezTo>
                  <a:close/>
                </a:path>
              </a:pathLst>
            </a:custGeom>
            <a:solidFill>
              <a:srgbClr val="BCCCA8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defTabSz="914378"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21" name="Google Shape;67;p14">
              <a:extLst>
                <a:ext uri="{FF2B5EF4-FFF2-40B4-BE49-F238E27FC236}">
                  <a16:creationId xmlns:a16="http://schemas.microsoft.com/office/drawing/2014/main" id="{A3005EDF-700D-4D30-B9D0-B6F8CFF69383}"/>
                </a:ext>
              </a:extLst>
            </p:cNvPr>
            <p:cNvSpPr/>
            <p:nvPr/>
          </p:nvSpPr>
          <p:spPr>
            <a:xfrm>
              <a:off x="1666956" y="1240325"/>
              <a:ext cx="303984" cy="308004"/>
            </a:xfrm>
            <a:custGeom>
              <a:avLst/>
              <a:gdLst/>
              <a:ahLst/>
              <a:cxnLst/>
              <a:rect l="l" t="t" r="r" b="b"/>
              <a:pathLst>
                <a:path w="989" h="990" extrusionOk="0">
                  <a:moveTo>
                    <a:pt x="496" y="35"/>
                  </a:moveTo>
                  <a:cubicBezTo>
                    <a:pt x="749" y="35"/>
                    <a:pt x="957" y="243"/>
                    <a:pt x="957" y="496"/>
                  </a:cubicBezTo>
                  <a:cubicBezTo>
                    <a:pt x="957" y="749"/>
                    <a:pt x="749" y="957"/>
                    <a:pt x="496" y="957"/>
                  </a:cubicBezTo>
                  <a:cubicBezTo>
                    <a:pt x="240" y="957"/>
                    <a:pt x="34" y="749"/>
                    <a:pt x="34" y="496"/>
                  </a:cubicBezTo>
                  <a:cubicBezTo>
                    <a:pt x="34" y="243"/>
                    <a:pt x="240" y="35"/>
                    <a:pt x="496" y="35"/>
                  </a:cubicBezTo>
                  <a:close/>
                  <a:moveTo>
                    <a:pt x="496" y="1"/>
                  </a:moveTo>
                  <a:cubicBezTo>
                    <a:pt x="221" y="1"/>
                    <a:pt x="0" y="222"/>
                    <a:pt x="0" y="496"/>
                  </a:cubicBezTo>
                  <a:cubicBezTo>
                    <a:pt x="0" y="770"/>
                    <a:pt x="221" y="989"/>
                    <a:pt x="496" y="989"/>
                  </a:cubicBezTo>
                  <a:cubicBezTo>
                    <a:pt x="764" y="989"/>
                    <a:pt x="988" y="770"/>
                    <a:pt x="988" y="496"/>
                  </a:cubicBezTo>
                  <a:cubicBezTo>
                    <a:pt x="988" y="222"/>
                    <a:pt x="767" y="1"/>
                    <a:pt x="496" y="1"/>
                  </a:cubicBezTo>
                  <a:close/>
                </a:path>
              </a:pathLst>
            </a:custGeom>
            <a:solidFill>
              <a:srgbClr val="BCCCA8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defTabSz="914378"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</p:grpSp>
      <p:sp>
        <p:nvSpPr>
          <p:cNvPr id="122" name="Google Shape;68;p14">
            <a:extLst>
              <a:ext uri="{FF2B5EF4-FFF2-40B4-BE49-F238E27FC236}">
                <a16:creationId xmlns:a16="http://schemas.microsoft.com/office/drawing/2014/main" id="{A474B1ED-2E78-40D2-B063-05666ADA9AE1}"/>
              </a:ext>
            </a:extLst>
          </p:cNvPr>
          <p:cNvSpPr txBox="1"/>
          <p:nvPr/>
        </p:nvSpPr>
        <p:spPr>
          <a:xfrm>
            <a:off x="498775" y="868038"/>
            <a:ext cx="928200" cy="25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defTabSz="914378">
              <a:buClr>
                <a:srgbClr val="000000"/>
              </a:buClr>
            </a:pPr>
            <a:r>
              <a:rPr lang="en" sz="1350" b="1" kern="0">
                <a:solidFill>
                  <a:srgbClr val="32756D"/>
                </a:solidFill>
                <a:latin typeface="Arial"/>
                <a:cs typeface="Arial"/>
                <a:sym typeface="Arial"/>
              </a:rPr>
              <a:t>Formål</a:t>
            </a:r>
            <a:endParaRPr sz="1350" b="1" kern="0">
              <a:solidFill>
                <a:srgbClr val="32756D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23" name="Google Shape;69;p14">
            <a:extLst>
              <a:ext uri="{FF2B5EF4-FFF2-40B4-BE49-F238E27FC236}">
                <a16:creationId xmlns:a16="http://schemas.microsoft.com/office/drawing/2014/main" id="{B7E76690-8477-412B-8955-FA92EC6DCCBA}"/>
              </a:ext>
            </a:extLst>
          </p:cNvPr>
          <p:cNvSpPr txBox="1"/>
          <p:nvPr/>
        </p:nvSpPr>
        <p:spPr>
          <a:xfrm>
            <a:off x="160000" y="1050750"/>
            <a:ext cx="2420700" cy="80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85743" indent="-228594" defTabSz="914378">
              <a:buClr>
                <a:srgbClr val="32756D"/>
              </a:buClr>
              <a:buSzPts val="900"/>
              <a:buFont typeface="Arial"/>
              <a:buChar char="●"/>
            </a:pPr>
            <a:r>
              <a:rPr lang="nb-NO" sz="675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Sørge for innkjøpsforespørsler av varer og tjenester innenfor sitt fagområde</a:t>
            </a:r>
          </a:p>
        </p:txBody>
      </p:sp>
      <p:sp>
        <p:nvSpPr>
          <p:cNvPr id="124" name="Google Shape;70;p14">
            <a:extLst>
              <a:ext uri="{FF2B5EF4-FFF2-40B4-BE49-F238E27FC236}">
                <a16:creationId xmlns:a16="http://schemas.microsoft.com/office/drawing/2014/main" id="{05539F5C-DB2A-4F89-B722-D8EDFA663082}"/>
              </a:ext>
            </a:extLst>
          </p:cNvPr>
          <p:cNvSpPr/>
          <p:nvPr/>
        </p:nvSpPr>
        <p:spPr>
          <a:xfrm>
            <a:off x="2646900" y="2649700"/>
            <a:ext cx="3156000" cy="946925"/>
          </a:xfrm>
          <a:prstGeom prst="rect">
            <a:avLst/>
          </a:prstGeom>
          <a:solidFill>
            <a:srgbClr val="EEEEEE">
              <a:alpha val="4916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defTabSz="914378">
              <a:buClr>
                <a:srgbClr val="000000"/>
              </a:buClr>
            </a:pPr>
            <a:endParaRPr sz="1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grpSp>
        <p:nvGrpSpPr>
          <p:cNvPr id="125" name="Google Shape;72;p14">
            <a:extLst>
              <a:ext uri="{FF2B5EF4-FFF2-40B4-BE49-F238E27FC236}">
                <a16:creationId xmlns:a16="http://schemas.microsoft.com/office/drawing/2014/main" id="{DFC14A5E-ABC0-4FEC-8BAC-359DA41BB655}"/>
              </a:ext>
            </a:extLst>
          </p:cNvPr>
          <p:cNvGrpSpPr/>
          <p:nvPr/>
        </p:nvGrpSpPr>
        <p:grpSpPr>
          <a:xfrm>
            <a:off x="2777702" y="2759214"/>
            <a:ext cx="193943" cy="214315"/>
            <a:chOff x="2846355" y="2693001"/>
            <a:chExt cx="275018" cy="303907"/>
          </a:xfrm>
        </p:grpSpPr>
        <p:sp>
          <p:nvSpPr>
            <p:cNvPr id="126" name="Google Shape;73;p14">
              <a:extLst>
                <a:ext uri="{FF2B5EF4-FFF2-40B4-BE49-F238E27FC236}">
                  <a16:creationId xmlns:a16="http://schemas.microsoft.com/office/drawing/2014/main" id="{9D193D2A-CFBD-4292-9076-91153FD4FE26}"/>
                </a:ext>
              </a:extLst>
            </p:cNvPr>
            <p:cNvSpPr/>
            <p:nvPr/>
          </p:nvSpPr>
          <p:spPr>
            <a:xfrm>
              <a:off x="2946836" y="2805161"/>
              <a:ext cx="80508" cy="60536"/>
            </a:xfrm>
            <a:custGeom>
              <a:avLst/>
              <a:gdLst/>
              <a:ahLst/>
              <a:cxnLst/>
              <a:rect l="l" t="t" r="r" b="b"/>
              <a:pathLst>
                <a:path w="262" h="197" extrusionOk="0">
                  <a:moveTo>
                    <a:pt x="244" y="0"/>
                  </a:moveTo>
                  <a:cubicBezTo>
                    <a:pt x="240" y="0"/>
                    <a:pt x="236" y="2"/>
                    <a:pt x="232" y="4"/>
                  </a:cubicBezTo>
                  <a:lnTo>
                    <a:pt x="82" y="157"/>
                  </a:lnTo>
                  <a:lnTo>
                    <a:pt x="30" y="104"/>
                  </a:lnTo>
                  <a:cubicBezTo>
                    <a:pt x="26" y="100"/>
                    <a:pt x="21" y="98"/>
                    <a:pt x="17" y="98"/>
                  </a:cubicBezTo>
                  <a:cubicBezTo>
                    <a:pt x="12" y="98"/>
                    <a:pt x="8" y="100"/>
                    <a:pt x="6" y="104"/>
                  </a:cubicBezTo>
                  <a:cubicBezTo>
                    <a:pt x="1" y="110"/>
                    <a:pt x="1" y="120"/>
                    <a:pt x="6" y="128"/>
                  </a:cubicBezTo>
                  <a:lnTo>
                    <a:pt x="72" y="194"/>
                  </a:lnTo>
                  <a:cubicBezTo>
                    <a:pt x="74" y="197"/>
                    <a:pt x="82" y="197"/>
                    <a:pt x="85" y="197"/>
                  </a:cubicBezTo>
                  <a:cubicBezTo>
                    <a:pt x="88" y="197"/>
                    <a:pt x="93" y="194"/>
                    <a:pt x="90" y="194"/>
                  </a:cubicBezTo>
                  <a:lnTo>
                    <a:pt x="256" y="28"/>
                  </a:lnTo>
                  <a:cubicBezTo>
                    <a:pt x="261" y="23"/>
                    <a:pt x="261" y="12"/>
                    <a:pt x="256" y="4"/>
                  </a:cubicBezTo>
                  <a:cubicBezTo>
                    <a:pt x="252" y="2"/>
                    <a:pt x="248" y="0"/>
                    <a:pt x="244" y="0"/>
                  </a:cubicBezTo>
                  <a:close/>
                </a:path>
              </a:pathLst>
            </a:custGeom>
            <a:solidFill>
              <a:srgbClr val="9EC5AB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defTabSz="914378"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27" name="Google Shape;74;p14">
              <a:extLst>
                <a:ext uri="{FF2B5EF4-FFF2-40B4-BE49-F238E27FC236}">
                  <a16:creationId xmlns:a16="http://schemas.microsoft.com/office/drawing/2014/main" id="{36A24D0E-6D41-46F1-BC8C-60E345E6EBE1}"/>
                </a:ext>
              </a:extLst>
            </p:cNvPr>
            <p:cNvSpPr/>
            <p:nvPr/>
          </p:nvSpPr>
          <p:spPr>
            <a:xfrm>
              <a:off x="2846355" y="2693001"/>
              <a:ext cx="275018" cy="303907"/>
            </a:xfrm>
            <a:custGeom>
              <a:avLst/>
              <a:gdLst/>
              <a:ahLst/>
              <a:cxnLst/>
              <a:rect l="l" t="t" r="r" b="b"/>
              <a:pathLst>
                <a:path w="895" h="989" extrusionOk="0">
                  <a:moveTo>
                    <a:pt x="446" y="34"/>
                  </a:moveTo>
                  <a:lnTo>
                    <a:pt x="857" y="158"/>
                  </a:lnTo>
                  <a:lnTo>
                    <a:pt x="857" y="598"/>
                  </a:lnTo>
                  <a:cubicBezTo>
                    <a:pt x="857" y="746"/>
                    <a:pt x="617" y="901"/>
                    <a:pt x="446" y="954"/>
                  </a:cubicBezTo>
                  <a:cubicBezTo>
                    <a:pt x="275" y="901"/>
                    <a:pt x="32" y="746"/>
                    <a:pt x="32" y="598"/>
                  </a:cubicBezTo>
                  <a:lnTo>
                    <a:pt x="32" y="158"/>
                  </a:lnTo>
                  <a:lnTo>
                    <a:pt x="446" y="34"/>
                  </a:lnTo>
                  <a:close/>
                  <a:moveTo>
                    <a:pt x="441" y="0"/>
                  </a:moveTo>
                  <a:lnTo>
                    <a:pt x="14" y="132"/>
                  </a:lnTo>
                  <a:cubicBezTo>
                    <a:pt x="3" y="137"/>
                    <a:pt x="1" y="142"/>
                    <a:pt x="1" y="150"/>
                  </a:cubicBezTo>
                  <a:lnTo>
                    <a:pt x="1" y="601"/>
                  </a:lnTo>
                  <a:cubicBezTo>
                    <a:pt x="1" y="783"/>
                    <a:pt x="288" y="944"/>
                    <a:pt x="441" y="988"/>
                  </a:cubicBezTo>
                  <a:lnTo>
                    <a:pt x="451" y="988"/>
                  </a:lnTo>
                  <a:cubicBezTo>
                    <a:pt x="607" y="944"/>
                    <a:pt x="894" y="783"/>
                    <a:pt x="894" y="601"/>
                  </a:cubicBezTo>
                  <a:lnTo>
                    <a:pt x="894" y="150"/>
                  </a:lnTo>
                  <a:cubicBezTo>
                    <a:pt x="894" y="142"/>
                    <a:pt x="886" y="137"/>
                    <a:pt x="881" y="132"/>
                  </a:cubicBezTo>
                  <a:lnTo>
                    <a:pt x="451" y="0"/>
                  </a:lnTo>
                  <a:close/>
                </a:path>
              </a:pathLst>
            </a:custGeom>
            <a:solidFill>
              <a:srgbClr val="9EC5AB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defTabSz="914378"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28" name="Google Shape;75;p14">
              <a:extLst>
                <a:ext uri="{FF2B5EF4-FFF2-40B4-BE49-F238E27FC236}">
                  <a16:creationId xmlns:a16="http://schemas.microsoft.com/office/drawing/2014/main" id="{1B5F0852-228B-420D-BD96-D25466C3BD04}"/>
                </a:ext>
              </a:extLst>
            </p:cNvPr>
            <p:cNvSpPr/>
            <p:nvPr/>
          </p:nvSpPr>
          <p:spPr>
            <a:xfrm>
              <a:off x="2917030" y="2764292"/>
              <a:ext cx="132131" cy="131519"/>
            </a:xfrm>
            <a:custGeom>
              <a:avLst/>
              <a:gdLst/>
              <a:ahLst/>
              <a:cxnLst/>
              <a:rect l="l" t="t" r="r" b="b"/>
              <a:pathLst>
                <a:path w="430" h="428" extrusionOk="0">
                  <a:moveTo>
                    <a:pt x="216" y="32"/>
                  </a:moveTo>
                  <a:cubicBezTo>
                    <a:pt x="314" y="32"/>
                    <a:pt x="395" y="116"/>
                    <a:pt x="395" y="214"/>
                  </a:cubicBezTo>
                  <a:cubicBezTo>
                    <a:pt x="395" y="314"/>
                    <a:pt x="314" y="395"/>
                    <a:pt x="216" y="395"/>
                  </a:cubicBezTo>
                  <a:cubicBezTo>
                    <a:pt x="116" y="395"/>
                    <a:pt x="34" y="314"/>
                    <a:pt x="34" y="214"/>
                  </a:cubicBezTo>
                  <a:cubicBezTo>
                    <a:pt x="34" y="116"/>
                    <a:pt x="116" y="32"/>
                    <a:pt x="216" y="32"/>
                  </a:cubicBezTo>
                  <a:close/>
                  <a:moveTo>
                    <a:pt x="216" y="0"/>
                  </a:moveTo>
                  <a:cubicBezTo>
                    <a:pt x="98" y="0"/>
                    <a:pt x="0" y="95"/>
                    <a:pt x="0" y="214"/>
                  </a:cubicBezTo>
                  <a:cubicBezTo>
                    <a:pt x="0" y="332"/>
                    <a:pt x="98" y="427"/>
                    <a:pt x="216" y="427"/>
                  </a:cubicBezTo>
                  <a:cubicBezTo>
                    <a:pt x="329" y="427"/>
                    <a:pt x="430" y="332"/>
                    <a:pt x="430" y="214"/>
                  </a:cubicBezTo>
                  <a:cubicBezTo>
                    <a:pt x="430" y="95"/>
                    <a:pt x="335" y="0"/>
                    <a:pt x="216" y="0"/>
                  </a:cubicBezTo>
                  <a:close/>
                </a:path>
              </a:pathLst>
            </a:custGeom>
            <a:solidFill>
              <a:srgbClr val="9EC5AB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defTabSz="914378"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</p:grpSp>
      <p:sp>
        <p:nvSpPr>
          <p:cNvPr id="129" name="Google Shape;76;p14">
            <a:extLst>
              <a:ext uri="{FF2B5EF4-FFF2-40B4-BE49-F238E27FC236}">
                <a16:creationId xmlns:a16="http://schemas.microsoft.com/office/drawing/2014/main" id="{36359664-BC16-4F3D-96C7-DAB5FF929848}"/>
              </a:ext>
            </a:extLst>
          </p:cNvPr>
          <p:cNvSpPr/>
          <p:nvPr/>
        </p:nvSpPr>
        <p:spPr>
          <a:xfrm>
            <a:off x="2648026" y="3661050"/>
            <a:ext cx="3154875" cy="889200"/>
          </a:xfrm>
          <a:prstGeom prst="rect">
            <a:avLst/>
          </a:prstGeom>
          <a:solidFill>
            <a:srgbClr val="EEEEEE">
              <a:alpha val="4916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defTabSz="914378">
              <a:buClr>
                <a:srgbClr val="000000"/>
              </a:buClr>
            </a:pPr>
            <a:endParaRPr sz="1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30" name="Google Shape;77;p14">
            <a:extLst>
              <a:ext uri="{FF2B5EF4-FFF2-40B4-BE49-F238E27FC236}">
                <a16:creationId xmlns:a16="http://schemas.microsoft.com/office/drawing/2014/main" id="{12953BDF-1E22-4C25-A280-FBC013443791}"/>
              </a:ext>
            </a:extLst>
          </p:cNvPr>
          <p:cNvSpPr/>
          <p:nvPr/>
        </p:nvSpPr>
        <p:spPr>
          <a:xfrm>
            <a:off x="2799026" y="3775533"/>
            <a:ext cx="193950" cy="187133"/>
          </a:xfrm>
          <a:custGeom>
            <a:avLst/>
            <a:gdLst/>
            <a:ahLst/>
            <a:cxnLst/>
            <a:rect l="l" t="t" r="r" b="b"/>
            <a:pathLst>
              <a:path w="995" h="960" extrusionOk="0">
                <a:moveTo>
                  <a:pt x="541" y="43"/>
                </a:moveTo>
                <a:cubicBezTo>
                  <a:pt x="562" y="43"/>
                  <a:pt x="625" y="101"/>
                  <a:pt x="625" y="174"/>
                </a:cubicBezTo>
                <a:cubicBezTo>
                  <a:pt x="625" y="246"/>
                  <a:pt x="586" y="348"/>
                  <a:pt x="586" y="348"/>
                </a:cubicBezTo>
                <a:cubicBezTo>
                  <a:pt x="583" y="356"/>
                  <a:pt x="583" y="362"/>
                  <a:pt x="586" y="364"/>
                </a:cubicBezTo>
                <a:cubicBezTo>
                  <a:pt x="588" y="369"/>
                  <a:pt x="594" y="372"/>
                  <a:pt x="599" y="372"/>
                </a:cubicBezTo>
                <a:lnTo>
                  <a:pt x="886" y="372"/>
                </a:lnTo>
                <a:cubicBezTo>
                  <a:pt x="920" y="372"/>
                  <a:pt x="955" y="401"/>
                  <a:pt x="957" y="438"/>
                </a:cubicBezTo>
                <a:cubicBezTo>
                  <a:pt x="957" y="464"/>
                  <a:pt x="944" y="493"/>
                  <a:pt x="926" y="507"/>
                </a:cubicBezTo>
                <a:cubicBezTo>
                  <a:pt x="923" y="507"/>
                  <a:pt x="918" y="514"/>
                  <a:pt x="918" y="520"/>
                </a:cubicBezTo>
                <a:cubicBezTo>
                  <a:pt x="918" y="528"/>
                  <a:pt x="923" y="530"/>
                  <a:pt x="928" y="533"/>
                </a:cubicBezTo>
                <a:cubicBezTo>
                  <a:pt x="944" y="543"/>
                  <a:pt x="957" y="562"/>
                  <a:pt x="957" y="583"/>
                </a:cubicBezTo>
                <a:cubicBezTo>
                  <a:pt x="957" y="612"/>
                  <a:pt x="939" y="636"/>
                  <a:pt x="910" y="638"/>
                </a:cubicBezTo>
                <a:cubicBezTo>
                  <a:pt x="902" y="638"/>
                  <a:pt x="899" y="641"/>
                  <a:pt x="897" y="649"/>
                </a:cubicBezTo>
                <a:cubicBezTo>
                  <a:pt x="891" y="654"/>
                  <a:pt x="897" y="662"/>
                  <a:pt x="899" y="665"/>
                </a:cubicBezTo>
                <a:cubicBezTo>
                  <a:pt x="910" y="678"/>
                  <a:pt x="915" y="691"/>
                  <a:pt x="915" y="707"/>
                </a:cubicBezTo>
                <a:cubicBezTo>
                  <a:pt x="915" y="733"/>
                  <a:pt x="891" y="760"/>
                  <a:pt x="865" y="765"/>
                </a:cubicBezTo>
                <a:cubicBezTo>
                  <a:pt x="860" y="765"/>
                  <a:pt x="857" y="767"/>
                  <a:pt x="852" y="773"/>
                </a:cubicBezTo>
                <a:cubicBezTo>
                  <a:pt x="849" y="781"/>
                  <a:pt x="852" y="789"/>
                  <a:pt x="857" y="791"/>
                </a:cubicBezTo>
                <a:cubicBezTo>
                  <a:pt x="873" y="807"/>
                  <a:pt x="878" y="836"/>
                  <a:pt x="862" y="868"/>
                </a:cubicBezTo>
                <a:cubicBezTo>
                  <a:pt x="852" y="883"/>
                  <a:pt x="834" y="894"/>
                  <a:pt x="810" y="894"/>
                </a:cubicBezTo>
                <a:lnTo>
                  <a:pt x="430" y="894"/>
                </a:lnTo>
                <a:cubicBezTo>
                  <a:pt x="401" y="894"/>
                  <a:pt x="346" y="875"/>
                  <a:pt x="322" y="857"/>
                </a:cubicBezTo>
                <a:cubicBezTo>
                  <a:pt x="320" y="849"/>
                  <a:pt x="312" y="844"/>
                  <a:pt x="306" y="844"/>
                </a:cubicBezTo>
                <a:cubicBezTo>
                  <a:pt x="296" y="844"/>
                  <a:pt x="291" y="849"/>
                  <a:pt x="291" y="860"/>
                </a:cubicBezTo>
                <a:cubicBezTo>
                  <a:pt x="291" y="897"/>
                  <a:pt x="259" y="926"/>
                  <a:pt x="225" y="926"/>
                </a:cubicBezTo>
                <a:lnTo>
                  <a:pt x="82" y="926"/>
                </a:lnTo>
                <a:cubicBezTo>
                  <a:pt x="56" y="926"/>
                  <a:pt x="32" y="902"/>
                  <a:pt x="32" y="875"/>
                </a:cubicBezTo>
                <a:lnTo>
                  <a:pt x="32" y="449"/>
                </a:lnTo>
                <a:cubicBezTo>
                  <a:pt x="32" y="422"/>
                  <a:pt x="56" y="398"/>
                  <a:pt x="82" y="398"/>
                </a:cubicBezTo>
                <a:lnTo>
                  <a:pt x="82" y="409"/>
                </a:lnTo>
                <a:lnTo>
                  <a:pt x="254" y="409"/>
                </a:lnTo>
                <a:cubicBezTo>
                  <a:pt x="280" y="409"/>
                  <a:pt x="304" y="430"/>
                  <a:pt x="304" y="456"/>
                </a:cubicBezTo>
                <a:lnTo>
                  <a:pt x="304" y="493"/>
                </a:lnTo>
                <a:cubicBezTo>
                  <a:pt x="304" y="496"/>
                  <a:pt x="306" y="504"/>
                  <a:pt x="309" y="507"/>
                </a:cubicBezTo>
                <a:cubicBezTo>
                  <a:pt x="313" y="508"/>
                  <a:pt x="316" y="508"/>
                  <a:pt x="318" y="508"/>
                </a:cubicBezTo>
                <a:cubicBezTo>
                  <a:pt x="320" y="508"/>
                  <a:pt x="322" y="508"/>
                  <a:pt x="325" y="507"/>
                </a:cubicBezTo>
                <a:lnTo>
                  <a:pt x="364" y="488"/>
                </a:lnTo>
                <a:cubicBezTo>
                  <a:pt x="367" y="488"/>
                  <a:pt x="372" y="483"/>
                  <a:pt x="372" y="480"/>
                </a:cubicBezTo>
                <a:lnTo>
                  <a:pt x="496" y="211"/>
                </a:lnTo>
                <a:lnTo>
                  <a:pt x="496" y="203"/>
                </a:lnTo>
                <a:lnTo>
                  <a:pt x="496" y="58"/>
                </a:lnTo>
                <a:cubicBezTo>
                  <a:pt x="504" y="53"/>
                  <a:pt x="520" y="43"/>
                  <a:pt x="541" y="43"/>
                </a:cubicBezTo>
                <a:close/>
                <a:moveTo>
                  <a:pt x="536" y="1"/>
                </a:moveTo>
                <a:cubicBezTo>
                  <a:pt x="494" y="1"/>
                  <a:pt x="465" y="30"/>
                  <a:pt x="465" y="30"/>
                </a:cubicBezTo>
                <a:cubicBezTo>
                  <a:pt x="465" y="32"/>
                  <a:pt x="462" y="40"/>
                  <a:pt x="462" y="43"/>
                </a:cubicBezTo>
                <a:lnTo>
                  <a:pt x="462" y="190"/>
                </a:lnTo>
                <a:lnTo>
                  <a:pt x="343" y="451"/>
                </a:lnTo>
                <a:lnTo>
                  <a:pt x="330" y="459"/>
                </a:lnTo>
                <a:lnTo>
                  <a:pt x="330" y="449"/>
                </a:lnTo>
                <a:cubicBezTo>
                  <a:pt x="330" y="401"/>
                  <a:pt x="293" y="367"/>
                  <a:pt x="246" y="367"/>
                </a:cubicBezTo>
                <a:lnTo>
                  <a:pt x="82" y="367"/>
                </a:lnTo>
                <a:cubicBezTo>
                  <a:pt x="35" y="367"/>
                  <a:pt x="1" y="401"/>
                  <a:pt x="1" y="449"/>
                </a:cubicBezTo>
                <a:lnTo>
                  <a:pt x="1" y="875"/>
                </a:lnTo>
                <a:cubicBezTo>
                  <a:pt x="1" y="923"/>
                  <a:pt x="35" y="960"/>
                  <a:pt x="82" y="960"/>
                </a:cubicBezTo>
                <a:lnTo>
                  <a:pt x="225" y="960"/>
                </a:lnTo>
                <a:cubicBezTo>
                  <a:pt x="267" y="960"/>
                  <a:pt x="304" y="933"/>
                  <a:pt x="317" y="889"/>
                </a:cubicBezTo>
                <a:cubicBezTo>
                  <a:pt x="351" y="910"/>
                  <a:pt x="401" y="923"/>
                  <a:pt x="430" y="923"/>
                </a:cubicBezTo>
                <a:lnTo>
                  <a:pt x="810" y="923"/>
                </a:lnTo>
                <a:cubicBezTo>
                  <a:pt x="847" y="923"/>
                  <a:pt x="876" y="907"/>
                  <a:pt x="891" y="881"/>
                </a:cubicBezTo>
                <a:cubicBezTo>
                  <a:pt x="913" y="846"/>
                  <a:pt x="910" y="810"/>
                  <a:pt x="897" y="783"/>
                </a:cubicBezTo>
                <a:cubicBezTo>
                  <a:pt x="926" y="770"/>
                  <a:pt x="949" y="738"/>
                  <a:pt x="949" y="702"/>
                </a:cubicBezTo>
                <a:cubicBezTo>
                  <a:pt x="949" y="688"/>
                  <a:pt x="944" y="673"/>
                  <a:pt x="939" y="659"/>
                </a:cubicBezTo>
                <a:cubicBezTo>
                  <a:pt x="968" y="644"/>
                  <a:pt x="992" y="612"/>
                  <a:pt x="992" y="578"/>
                </a:cubicBezTo>
                <a:cubicBezTo>
                  <a:pt x="992" y="551"/>
                  <a:pt x="981" y="528"/>
                  <a:pt x="963" y="512"/>
                </a:cubicBezTo>
                <a:cubicBezTo>
                  <a:pt x="981" y="488"/>
                  <a:pt x="994" y="454"/>
                  <a:pt x="992" y="425"/>
                </a:cubicBezTo>
                <a:cubicBezTo>
                  <a:pt x="984" y="372"/>
                  <a:pt x="939" y="330"/>
                  <a:pt x="886" y="330"/>
                </a:cubicBezTo>
                <a:lnTo>
                  <a:pt x="623" y="330"/>
                </a:lnTo>
                <a:cubicBezTo>
                  <a:pt x="633" y="293"/>
                  <a:pt x="654" y="225"/>
                  <a:pt x="654" y="164"/>
                </a:cubicBezTo>
                <a:cubicBezTo>
                  <a:pt x="654" y="82"/>
                  <a:pt x="586" y="1"/>
                  <a:pt x="536" y="1"/>
                </a:cubicBezTo>
                <a:close/>
              </a:path>
            </a:pathLst>
          </a:custGeom>
          <a:solidFill>
            <a:srgbClr val="BCCCA8"/>
          </a:solidFill>
          <a:ln w="9525" cap="flat" cmpd="sng">
            <a:solidFill>
              <a:srgbClr val="BCCCA8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defTabSz="914378">
              <a:buClr>
                <a:srgbClr val="000000"/>
              </a:buClr>
            </a:pPr>
            <a:endParaRPr sz="1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31" name="Google Shape;78;p14">
            <a:extLst>
              <a:ext uri="{FF2B5EF4-FFF2-40B4-BE49-F238E27FC236}">
                <a16:creationId xmlns:a16="http://schemas.microsoft.com/office/drawing/2014/main" id="{5893BE13-8925-422D-A54E-19CDC829C950}"/>
              </a:ext>
            </a:extLst>
          </p:cNvPr>
          <p:cNvSpPr/>
          <p:nvPr/>
        </p:nvSpPr>
        <p:spPr>
          <a:xfrm>
            <a:off x="2648520" y="777900"/>
            <a:ext cx="3157200" cy="1804235"/>
          </a:xfrm>
          <a:prstGeom prst="rect">
            <a:avLst/>
          </a:prstGeom>
          <a:solidFill>
            <a:srgbClr val="EEEEEE">
              <a:alpha val="4916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defTabSz="914378">
              <a:buClr>
                <a:srgbClr val="000000"/>
              </a:buClr>
            </a:pPr>
            <a:endParaRPr sz="1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32" name="Google Shape;79;p14">
            <a:extLst>
              <a:ext uri="{FF2B5EF4-FFF2-40B4-BE49-F238E27FC236}">
                <a16:creationId xmlns:a16="http://schemas.microsoft.com/office/drawing/2014/main" id="{8DDD0BD2-41EF-4369-9939-58A253928301}"/>
              </a:ext>
            </a:extLst>
          </p:cNvPr>
          <p:cNvSpPr/>
          <p:nvPr/>
        </p:nvSpPr>
        <p:spPr>
          <a:xfrm>
            <a:off x="120375" y="1525650"/>
            <a:ext cx="2459100" cy="3024600"/>
          </a:xfrm>
          <a:prstGeom prst="rect">
            <a:avLst/>
          </a:prstGeom>
          <a:solidFill>
            <a:srgbClr val="EEEEEE">
              <a:alpha val="4916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defTabSz="914378">
              <a:buClr>
                <a:srgbClr val="000000"/>
              </a:buClr>
            </a:pPr>
            <a:endParaRPr sz="1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grpSp>
        <p:nvGrpSpPr>
          <p:cNvPr id="133" name="Google Shape;81;p14">
            <a:extLst>
              <a:ext uri="{FF2B5EF4-FFF2-40B4-BE49-F238E27FC236}">
                <a16:creationId xmlns:a16="http://schemas.microsoft.com/office/drawing/2014/main" id="{47BA0CF7-8590-428E-B3D3-7EE7DD1796A7}"/>
              </a:ext>
            </a:extLst>
          </p:cNvPr>
          <p:cNvGrpSpPr/>
          <p:nvPr/>
        </p:nvGrpSpPr>
        <p:grpSpPr>
          <a:xfrm>
            <a:off x="2799016" y="946962"/>
            <a:ext cx="193953" cy="95236"/>
            <a:chOff x="4686520" y="2612923"/>
            <a:chExt cx="305486" cy="149977"/>
          </a:xfrm>
        </p:grpSpPr>
        <p:sp>
          <p:nvSpPr>
            <p:cNvPr id="134" name="Google Shape;82;p14">
              <a:extLst>
                <a:ext uri="{FF2B5EF4-FFF2-40B4-BE49-F238E27FC236}">
                  <a16:creationId xmlns:a16="http://schemas.microsoft.com/office/drawing/2014/main" id="{1576159D-5460-4546-B8C6-567D616C0600}"/>
                </a:ext>
              </a:extLst>
            </p:cNvPr>
            <p:cNvSpPr/>
            <p:nvPr/>
          </p:nvSpPr>
          <p:spPr>
            <a:xfrm>
              <a:off x="4686520" y="2612923"/>
              <a:ext cx="74681" cy="125083"/>
            </a:xfrm>
            <a:custGeom>
              <a:avLst/>
              <a:gdLst/>
              <a:ahLst/>
              <a:cxnLst/>
              <a:rect l="l" t="t" r="r" b="b"/>
              <a:pathLst>
                <a:path w="243" h="407" extrusionOk="0">
                  <a:moveTo>
                    <a:pt x="32" y="32"/>
                  </a:moveTo>
                  <a:cubicBezTo>
                    <a:pt x="95" y="37"/>
                    <a:pt x="179" y="48"/>
                    <a:pt x="206" y="63"/>
                  </a:cubicBezTo>
                  <a:cubicBezTo>
                    <a:pt x="193" y="158"/>
                    <a:pt x="140" y="327"/>
                    <a:pt x="127" y="374"/>
                  </a:cubicBezTo>
                  <a:lnTo>
                    <a:pt x="32" y="374"/>
                  </a:lnTo>
                  <a:lnTo>
                    <a:pt x="32" y="32"/>
                  </a:lnTo>
                  <a:close/>
                  <a:moveTo>
                    <a:pt x="19" y="0"/>
                  </a:moveTo>
                  <a:cubicBezTo>
                    <a:pt x="13" y="0"/>
                    <a:pt x="8" y="0"/>
                    <a:pt x="6" y="5"/>
                  </a:cubicBezTo>
                  <a:cubicBezTo>
                    <a:pt x="3" y="8"/>
                    <a:pt x="0" y="13"/>
                    <a:pt x="0" y="19"/>
                  </a:cubicBezTo>
                  <a:lnTo>
                    <a:pt x="0" y="390"/>
                  </a:lnTo>
                  <a:cubicBezTo>
                    <a:pt x="0" y="401"/>
                    <a:pt x="6" y="406"/>
                    <a:pt x="16" y="406"/>
                  </a:cubicBezTo>
                  <a:lnTo>
                    <a:pt x="140" y="406"/>
                  </a:lnTo>
                  <a:cubicBezTo>
                    <a:pt x="148" y="406"/>
                    <a:pt x="153" y="403"/>
                    <a:pt x="161" y="396"/>
                  </a:cubicBezTo>
                  <a:cubicBezTo>
                    <a:pt x="161" y="388"/>
                    <a:pt x="232" y="169"/>
                    <a:pt x="243" y="61"/>
                  </a:cubicBezTo>
                  <a:cubicBezTo>
                    <a:pt x="243" y="58"/>
                    <a:pt x="240" y="50"/>
                    <a:pt x="237" y="48"/>
                  </a:cubicBezTo>
                  <a:cubicBezTo>
                    <a:pt x="201" y="13"/>
                    <a:pt x="48" y="5"/>
                    <a:pt x="19" y="0"/>
                  </a:cubicBezTo>
                  <a:close/>
                </a:path>
              </a:pathLst>
            </a:custGeom>
            <a:solidFill>
              <a:srgbClr val="BCCCA8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defTabSz="914378"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35" name="Google Shape;83;p14">
              <a:extLst>
                <a:ext uri="{FF2B5EF4-FFF2-40B4-BE49-F238E27FC236}">
                  <a16:creationId xmlns:a16="http://schemas.microsoft.com/office/drawing/2014/main" id="{3816CEC6-B4F7-4B77-8C46-11942ED77612}"/>
                </a:ext>
              </a:extLst>
            </p:cNvPr>
            <p:cNvSpPr/>
            <p:nvPr/>
          </p:nvSpPr>
          <p:spPr>
            <a:xfrm>
              <a:off x="4731083" y="2684531"/>
              <a:ext cx="260309" cy="78369"/>
            </a:xfrm>
            <a:custGeom>
              <a:avLst/>
              <a:gdLst/>
              <a:ahLst/>
              <a:cxnLst/>
              <a:rect l="l" t="t" r="r" b="b"/>
              <a:pathLst>
                <a:path w="847" h="255" extrusionOk="0">
                  <a:moveTo>
                    <a:pt x="724" y="0"/>
                  </a:moveTo>
                  <a:cubicBezTo>
                    <a:pt x="713" y="0"/>
                    <a:pt x="702" y="1"/>
                    <a:pt x="691" y="4"/>
                  </a:cubicBezTo>
                  <a:lnTo>
                    <a:pt x="533" y="44"/>
                  </a:lnTo>
                  <a:cubicBezTo>
                    <a:pt x="522" y="49"/>
                    <a:pt x="517" y="54"/>
                    <a:pt x="519" y="65"/>
                  </a:cubicBezTo>
                  <a:cubicBezTo>
                    <a:pt x="522" y="74"/>
                    <a:pt x="527" y="79"/>
                    <a:pt x="535" y="79"/>
                  </a:cubicBezTo>
                  <a:cubicBezTo>
                    <a:pt x="537" y="79"/>
                    <a:pt x="539" y="79"/>
                    <a:pt x="540" y="78"/>
                  </a:cubicBezTo>
                  <a:lnTo>
                    <a:pt x="699" y="39"/>
                  </a:lnTo>
                  <a:cubicBezTo>
                    <a:pt x="708" y="36"/>
                    <a:pt x="717" y="35"/>
                    <a:pt x="727" y="35"/>
                  </a:cubicBezTo>
                  <a:cubicBezTo>
                    <a:pt x="758" y="35"/>
                    <a:pt x="786" y="49"/>
                    <a:pt x="804" y="76"/>
                  </a:cubicBezTo>
                  <a:lnTo>
                    <a:pt x="593" y="170"/>
                  </a:lnTo>
                  <a:cubicBezTo>
                    <a:pt x="489" y="212"/>
                    <a:pt x="445" y="228"/>
                    <a:pt x="408" y="228"/>
                  </a:cubicBezTo>
                  <a:cubicBezTo>
                    <a:pt x="385" y="228"/>
                    <a:pt x="365" y="221"/>
                    <a:pt x="335" y="210"/>
                  </a:cubicBezTo>
                  <a:lnTo>
                    <a:pt x="21" y="105"/>
                  </a:lnTo>
                  <a:cubicBezTo>
                    <a:pt x="20" y="104"/>
                    <a:pt x="19" y="104"/>
                    <a:pt x="17" y="104"/>
                  </a:cubicBezTo>
                  <a:cubicBezTo>
                    <a:pt x="11" y="104"/>
                    <a:pt x="5" y="107"/>
                    <a:pt x="3" y="115"/>
                  </a:cubicBezTo>
                  <a:cubicBezTo>
                    <a:pt x="0" y="120"/>
                    <a:pt x="3" y="131"/>
                    <a:pt x="13" y="134"/>
                  </a:cubicBezTo>
                  <a:lnTo>
                    <a:pt x="322" y="236"/>
                  </a:lnTo>
                  <a:cubicBezTo>
                    <a:pt x="359" y="249"/>
                    <a:pt x="382" y="255"/>
                    <a:pt x="409" y="255"/>
                  </a:cubicBezTo>
                  <a:cubicBezTo>
                    <a:pt x="448" y="255"/>
                    <a:pt x="496" y="236"/>
                    <a:pt x="606" y="202"/>
                  </a:cubicBezTo>
                  <a:lnTo>
                    <a:pt x="833" y="97"/>
                  </a:lnTo>
                  <a:cubicBezTo>
                    <a:pt x="838" y="94"/>
                    <a:pt x="844" y="91"/>
                    <a:pt x="844" y="89"/>
                  </a:cubicBezTo>
                  <a:cubicBezTo>
                    <a:pt x="846" y="83"/>
                    <a:pt x="846" y="78"/>
                    <a:pt x="844" y="76"/>
                  </a:cubicBezTo>
                  <a:cubicBezTo>
                    <a:pt x="818" y="28"/>
                    <a:pt x="772" y="0"/>
                    <a:pt x="724" y="0"/>
                  </a:cubicBezTo>
                  <a:close/>
                </a:path>
              </a:pathLst>
            </a:custGeom>
            <a:solidFill>
              <a:srgbClr val="BCCCA8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defTabSz="914378"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36" name="Google Shape;84;p14">
              <a:extLst>
                <a:ext uri="{FF2B5EF4-FFF2-40B4-BE49-F238E27FC236}">
                  <a16:creationId xmlns:a16="http://schemas.microsoft.com/office/drawing/2014/main" id="{92736A7C-9A35-41F8-9226-A71C6FA0CB91}"/>
                </a:ext>
              </a:extLst>
            </p:cNvPr>
            <p:cNvSpPr/>
            <p:nvPr/>
          </p:nvSpPr>
          <p:spPr>
            <a:xfrm>
              <a:off x="4751367" y="2638739"/>
              <a:ext cx="149977" cy="73145"/>
            </a:xfrm>
            <a:custGeom>
              <a:avLst/>
              <a:gdLst/>
              <a:ahLst/>
              <a:cxnLst/>
              <a:rect l="l" t="t" r="r" b="b"/>
              <a:pathLst>
                <a:path w="488" h="238" extrusionOk="0">
                  <a:moveTo>
                    <a:pt x="19" y="1"/>
                  </a:moveTo>
                  <a:cubicBezTo>
                    <a:pt x="8" y="1"/>
                    <a:pt x="3" y="3"/>
                    <a:pt x="0" y="14"/>
                  </a:cubicBezTo>
                  <a:cubicBezTo>
                    <a:pt x="0" y="22"/>
                    <a:pt x="3" y="30"/>
                    <a:pt x="13" y="32"/>
                  </a:cubicBezTo>
                  <a:lnTo>
                    <a:pt x="385" y="114"/>
                  </a:lnTo>
                  <a:cubicBezTo>
                    <a:pt x="435" y="127"/>
                    <a:pt x="451" y="148"/>
                    <a:pt x="453" y="190"/>
                  </a:cubicBezTo>
                  <a:lnTo>
                    <a:pt x="411" y="201"/>
                  </a:lnTo>
                  <a:cubicBezTo>
                    <a:pt x="405" y="202"/>
                    <a:pt x="397" y="203"/>
                    <a:pt x="389" y="203"/>
                  </a:cubicBezTo>
                  <a:cubicBezTo>
                    <a:pt x="382" y="203"/>
                    <a:pt x="373" y="202"/>
                    <a:pt x="364" y="201"/>
                  </a:cubicBezTo>
                  <a:lnTo>
                    <a:pt x="185" y="164"/>
                  </a:lnTo>
                  <a:cubicBezTo>
                    <a:pt x="174" y="164"/>
                    <a:pt x="166" y="167"/>
                    <a:pt x="163" y="177"/>
                  </a:cubicBezTo>
                  <a:cubicBezTo>
                    <a:pt x="163" y="188"/>
                    <a:pt x="166" y="193"/>
                    <a:pt x="177" y="198"/>
                  </a:cubicBezTo>
                  <a:lnTo>
                    <a:pt x="359" y="232"/>
                  </a:lnTo>
                  <a:cubicBezTo>
                    <a:pt x="364" y="238"/>
                    <a:pt x="374" y="238"/>
                    <a:pt x="385" y="238"/>
                  </a:cubicBezTo>
                  <a:cubicBezTo>
                    <a:pt x="395" y="238"/>
                    <a:pt x="409" y="238"/>
                    <a:pt x="416" y="230"/>
                  </a:cubicBezTo>
                  <a:lnTo>
                    <a:pt x="474" y="217"/>
                  </a:lnTo>
                  <a:cubicBezTo>
                    <a:pt x="480" y="214"/>
                    <a:pt x="488" y="206"/>
                    <a:pt x="488" y="201"/>
                  </a:cubicBezTo>
                  <a:lnTo>
                    <a:pt x="488" y="193"/>
                  </a:lnTo>
                  <a:cubicBezTo>
                    <a:pt x="488" y="135"/>
                    <a:pt x="456" y="98"/>
                    <a:pt x="390" y="82"/>
                  </a:cubicBezTo>
                  <a:lnTo>
                    <a:pt x="19" y="1"/>
                  </a:lnTo>
                  <a:close/>
                </a:path>
              </a:pathLst>
            </a:custGeom>
            <a:solidFill>
              <a:srgbClr val="BCCCA8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defTabSz="914378"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37" name="Google Shape;85;p14">
              <a:extLst>
                <a:ext uri="{FF2B5EF4-FFF2-40B4-BE49-F238E27FC236}">
                  <a16:creationId xmlns:a16="http://schemas.microsoft.com/office/drawing/2014/main" id="{8322D7B7-AED4-4849-9777-AAC5B7434492}"/>
                </a:ext>
              </a:extLst>
            </p:cNvPr>
            <p:cNvSpPr/>
            <p:nvPr/>
          </p:nvSpPr>
          <p:spPr>
            <a:xfrm>
              <a:off x="4801462" y="2681765"/>
              <a:ext cx="190545" cy="31040"/>
            </a:xfrm>
            <a:custGeom>
              <a:avLst/>
              <a:gdLst/>
              <a:ahLst/>
              <a:cxnLst/>
              <a:rect l="l" t="t" r="r" b="b"/>
              <a:pathLst>
                <a:path w="620" h="101" extrusionOk="0">
                  <a:moveTo>
                    <a:pt x="500" y="0"/>
                  </a:moveTo>
                  <a:cubicBezTo>
                    <a:pt x="488" y="0"/>
                    <a:pt x="476" y="2"/>
                    <a:pt x="464" y="5"/>
                  </a:cubicBezTo>
                  <a:lnTo>
                    <a:pt x="319" y="40"/>
                  </a:lnTo>
                  <a:cubicBezTo>
                    <a:pt x="317" y="38"/>
                    <a:pt x="314" y="37"/>
                    <a:pt x="310" y="37"/>
                  </a:cubicBezTo>
                  <a:cubicBezTo>
                    <a:pt x="304" y="37"/>
                    <a:pt x="297" y="41"/>
                    <a:pt x="293" y="48"/>
                  </a:cubicBezTo>
                  <a:lnTo>
                    <a:pt x="248" y="58"/>
                  </a:lnTo>
                  <a:cubicBezTo>
                    <a:pt x="242" y="60"/>
                    <a:pt x="234" y="60"/>
                    <a:pt x="226" y="60"/>
                  </a:cubicBezTo>
                  <a:cubicBezTo>
                    <a:pt x="219" y="60"/>
                    <a:pt x="210" y="60"/>
                    <a:pt x="201" y="58"/>
                  </a:cubicBezTo>
                  <a:lnTo>
                    <a:pt x="22" y="21"/>
                  </a:lnTo>
                  <a:cubicBezTo>
                    <a:pt x="11" y="21"/>
                    <a:pt x="3" y="24"/>
                    <a:pt x="0" y="34"/>
                  </a:cubicBezTo>
                  <a:cubicBezTo>
                    <a:pt x="0" y="45"/>
                    <a:pt x="3" y="50"/>
                    <a:pt x="14" y="53"/>
                  </a:cubicBezTo>
                  <a:lnTo>
                    <a:pt x="196" y="90"/>
                  </a:lnTo>
                  <a:cubicBezTo>
                    <a:pt x="205" y="92"/>
                    <a:pt x="215" y="94"/>
                    <a:pt x="226" y="94"/>
                  </a:cubicBezTo>
                  <a:cubicBezTo>
                    <a:pt x="237" y="94"/>
                    <a:pt x="248" y="92"/>
                    <a:pt x="259" y="90"/>
                  </a:cubicBezTo>
                  <a:lnTo>
                    <a:pt x="314" y="77"/>
                  </a:lnTo>
                  <a:lnTo>
                    <a:pt x="472" y="37"/>
                  </a:lnTo>
                  <a:cubicBezTo>
                    <a:pt x="480" y="35"/>
                    <a:pt x="488" y="34"/>
                    <a:pt x="495" y="34"/>
                  </a:cubicBezTo>
                  <a:cubicBezTo>
                    <a:pt x="532" y="34"/>
                    <a:pt x="568" y="55"/>
                    <a:pt x="583" y="90"/>
                  </a:cubicBezTo>
                  <a:cubicBezTo>
                    <a:pt x="583" y="98"/>
                    <a:pt x="591" y="100"/>
                    <a:pt x="596" y="100"/>
                  </a:cubicBezTo>
                  <a:cubicBezTo>
                    <a:pt x="601" y="100"/>
                    <a:pt x="604" y="100"/>
                    <a:pt x="609" y="95"/>
                  </a:cubicBezTo>
                  <a:cubicBezTo>
                    <a:pt x="617" y="90"/>
                    <a:pt x="620" y="79"/>
                    <a:pt x="617" y="74"/>
                  </a:cubicBezTo>
                  <a:cubicBezTo>
                    <a:pt x="594" y="29"/>
                    <a:pt x="548" y="0"/>
                    <a:pt x="500" y="0"/>
                  </a:cubicBezTo>
                  <a:close/>
                </a:path>
              </a:pathLst>
            </a:custGeom>
            <a:solidFill>
              <a:srgbClr val="BCCCA8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defTabSz="914378"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</p:grpSp>
      <p:sp>
        <p:nvSpPr>
          <p:cNvPr id="138" name="Google Shape;86;p14">
            <a:extLst>
              <a:ext uri="{FF2B5EF4-FFF2-40B4-BE49-F238E27FC236}">
                <a16:creationId xmlns:a16="http://schemas.microsoft.com/office/drawing/2014/main" id="{157608BC-6259-45E8-A219-0C1D04900777}"/>
              </a:ext>
            </a:extLst>
          </p:cNvPr>
          <p:cNvSpPr txBox="1"/>
          <p:nvPr/>
        </p:nvSpPr>
        <p:spPr>
          <a:xfrm>
            <a:off x="591032" y="1615788"/>
            <a:ext cx="1630800" cy="25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>
              <a:defRPr lang="nb-NO"/>
            </a:defPPr>
            <a:lvl1pPr defTabSz="1219170">
              <a:buClr>
                <a:srgbClr val="000000"/>
              </a:buClr>
              <a:defRPr b="1" kern="0">
                <a:solidFill>
                  <a:srgbClr val="32756D"/>
                </a:solidFill>
                <a:latin typeface="Arial"/>
                <a:cs typeface="Arial"/>
              </a:defRPr>
            </a:lvl1pPr>
          </a:lstStyle>
          <a:p>
            <a:pPr defTabSz="914378"/>
            <a:r>
              <a:rPr lang="en" sz="1350">
                <a:sym typeface="Arial"/>
              </a:rPr>
              <a:t>Kompetansekrav</a:t>
            </a:r>
            <a:endParaRPr sz="1350">
              <a:sym typeface="Arial"/>
            </a:endParaRPr>
          </a:p>
        </p:txBody>
      </p:sp>
      <p:sp>
        <p:nvSpPr>
          <p:cNvPr id="139" name="Google Shape;87;p14">
            <a:extLst>
              <a:ext uri="{FF2B5EF4-FFF2-40B4-BE49-F238E27FC236}">
                <a16:creationId xmlns:a16="http://schemas.microsoft.com/office/drawing/2014/main" id="{FAA0022C-598E-40FD-9E0E-C3E56C09546B}"/>
              </a:ext>
            </a:extLst>
          </p:cNvPr>
          <p:cNvSpPr txBox="1"/>
          <p:nvPr/>
        </p:nvSpPr>
        <p:spPr>
          <a:xfrm>
            <a:off x="2688025" y="1050750"/>
            <a:ext cx="3004500" cy="11638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>
              <a:defRPr lang="nb-NO"/>
            </a:defPPr>
            <a:lvl1pPr marL="380990" indent="-304792" defTabSz="1219170">
              <a:buClr>
                <a:srgbClr val="32756D"/>
              </a:buClr>
              <a:buSzPts val="900"/>
              <a:buFont typeface="Arial"/>
              <a:buChar char="●"/>
              <a:defRPr sz="900" kern="0">
                <a:solidFill>
                  <a:srgbClr val="000000"/>
                </a:solidFill>
                <a:latin typeface="Arial"/>
                <a:cs typeface="Arial"/>
              </a:defRPr>
            </a:lvl1pPr>
          </a:lstStyle>
          <a:p>
            <a:pPr marL="285743" indent="-228594" defTabSz="914378"/>
            <a:r>
              <a:rPr lang="nb-NO" sz="675" dirty="0">
                <a:sym typeface="Arial"/>
              </a:rPr>
              <a:t>Myndighet til og ansvar for å opprette innkjøpsforespørsler av varer og tjenester innenfor sitt fagområde</a:t>
            </a:r>
          </a:p>
          <a:p>
            <a:pPr marL="285743" indent="-228594" defTabSz="914378"/>
            <a:r>
              <a:rPr lang="nb-NO" sz="675" dirty="0">
                <a:sym typeface="Arial"/>
              </a:rPr>
              <a:t>Følge opp fagspesifikke krav innenfor sitt fagområde eller sin stilling</a:t>
            </a:r>
          </a:p>
          <a:p>
            <a:pPr marL="285743" indent="-228594" defTabSz="914378"/>
            <a:r>
              <a:rPr lang="nb-NO" sz="675" dirty="0">
                <a:sym typeface="Arial"/>
              </a:rPr>
              <a:t>Holde seg oppdatert på avtaleportefølje innen sitt fagområde og sikre at avtalt avropsmekanisme følges</a:t>
            </a:r>
          </a:p>
          <a:p>
            <a:pPr marL="285743" indent="-228594" defTabSz="914378"/>
            <a:r>
              <a:rPr lang="nb-NO" sz="675" dirty="0">
                <a:sym typeface="Arial"/>
              </a:rPr>
              <a:t>Ansvar for å formidle behov for anskaffelsesprosess for behov lik eller over kr 100 000 eks mva. til anskaffelsesrådgiver der det ikke foreligger avtale</a:t>
            </a:r>
          </a:p>
          <a:p>
            <a:pPr marL="285743" indent="-228594" defTabSz="914378"/>
            <a:r>
              <a:rPr lang="nb-NO" sz="675" dirty="0">
                <a:sym typeface="Arial"/>
              </a:rPr>
              <a:t>Utføre attestasjonskontroll for varer og tjenester</a:t>
            </a:r>
          </a:p>
          <a:p>
            <a:pPr marL="628636" lvl="1" indent="-228588" defTabSz="914378">
              <a:buClr>
                <a:srgbClr val="32756D"/>
              </a:buClr>
              <a:buSzPts val="900"/>
              <a:buFont typeface="Courier New" panose="02070309020205020404" pitchFamily="49" charset="0"/>
              <a:buChar char="o"/>
            </a:pPr>
            <a:r>
              <a:rPr lang="nb-NO" sz="675" dirty="0">
                <a:solidFill>
                  <a:srgbClr val="000000"/>
                </a:solidFill>
                <a:latin typeface="Arial"/>
                <a:sym typeface="Arial"/>
              </a:rPr>
              <a:t>Ansvar for at leveranse blir kontrollert mot innkjøpsordre, og at varemottak blir korrekt registrert i løsning</a:t>
            </a:r>
            <a:endParaRPr lang="nb-NO" sz="675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marL="628636" lvl="1" indent="-228588" defTabSz="914378">
              <a:buClr>
                <a:srgbClr val="32756D"/>
              </a:buClr>
              <a:buSzPts val="900"/>
              <a:buFont typeface="Courier New" panose="02070309020205020404" pitchFamily="49" charset="0"/>
              <a:buChar char="o"/>
            </a:pPr>
            <a:r>
              <a:rPr lang="nb-NO" sz="675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Ansvar for å bekrefte at leveransen er korrekt fakturert</a:t>
            </a:r>
          </a:p>
          <a:p>
            <a:pPr marL="285743" indent="-228594" defTabSz="914378"/>
            <a:endParaRPr lang="nb-NO" sz="675" dirty="0">
              <a:sym typeface="Arial"/>
            </a:endParaRPr>
          </a:p>
        </p:txBody>
      </p:sp>
      <p:sp>
        <p:nvSpPr>
          <p:cNvPr id="140" name="Google Shape;88;p14">
            <a:extLst>
              <a:ext uri="{FF2B5EF4-FFF2-40B4-BE49-F238E27FC236}">
                <a16:creationId xmlns:a16="http://schemas.microsoft.com/office/drawing/2014/main" id="{C73664D7-ABB3-4312-8764-C629D1CEB69A}"/>
              </a:ext>
            </a:extLst>
          </p:cNvPr>
          <p:cNvSpPr txBox="1"/>
          <p:nvPr/>
        </p:nvSpPr>
        <p:spPr>
          <a:xfrm>
            <a:off x="3085975" y="868038"/>
            <a:ext cx="1985700" cy="25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>
              <a:defRPr lang="nb-NO"/>
            </a:defPPr>
            <a:lvl1pPr defTabSz="1219170">
              <a:buClr>
                <a:srgbClr val="000000"/>
              </a:buClr>
              <a:defRPr b="1" kern="0">
                <a:solidFill>
                  <a:srgbClr val="32756D"/>
                </a:solidFill>
                <a:latin typeface="Arial"/>
                <a:cs typeface="Arial"/>
              </a:defRPr>
            </a:lvl1pPr>
          </a:lstStyle>
          <a:p>
            <a:pPr defTabSz="914378"/>
            <a:r>
              <a:rPr lang="en" sz="1350">
                <a:sym typeface="Arial"/>
              </a:rPr>
              <a:t>Ansvar og myndighet</a:t>
            </a:r>
            <a:endParaRPr sz="1350">
              <a:sym typeface="Arial"/>
            </a:endParaRPr>
          </a:p>
        </p:txBody>
      </p:sp>
      <p:grpSp>
        <p:nvGrpSpPr>
          <p:cNvPr id="141" name="Google Shape;89;p14">
            <a:extLst>
              <a:ext uri="{FF2B5EF4-FFF2-40B4-BE49-F238E27FC236}">
                <a16:creationId xmlns:a16="http://schemas.microsoft.com/office/drawing/2014/main" id="{A64153FD-9B01-4387-BD04-79BA00FC4724}"/>
              </a:ext>
            </a:extLst>
          </p:cNvPr>
          <p:cNvGrpSpPr/>
          <p:nvPr/>
        </p:nvGrpSpPr>
        <p:grpSpPr>
          <a:xfrm>
            <a:off x="295790" y="1661378"/>
            <a:ext cx="144099" cy="167727"/>
            <a:chOff x="2626351" y="1211626"/>
            <a:chExt cx="144099" cy="167727"/>
          </a:xfrm>
        </p:grpSpPr>
        <p:sp>
          <p:nvSpPr>
            <p:cNvPr id="142" name="Google Shape;90;p14">
              <a:extLst>
                <a:ext uri="{FF2B5EF4-FFF2-40B4-BE49-F238E27FC236}">
                  <a16:creationId xmlns:a16="http://schemas.microsoft.com/office/drawing/2014/main" id="{F97399B5-1CC8-4F0F-95E9-C84DE480E373}"/>
                </a:ext>
              </a:extLst>
            </p:cNvPr>
            <p:cNvSpPr/>
            <p:nvPr/>
          </p:nvSpPr>
          <p:spPr>
            <a:xfrm>
              <a:off x="2708789" y="1334411"/>
              <a:ext cx="51105" cy="44942"/>
            </a:xfrm>
            <a:custGeom>
              <a:avLst/>
              <a:gdLst/>
              <a:ahLst/>
              <a:cxnLst/>
              <a:rect l="l" t="t" r="r" b="b"/>
              <a:pathLst>
                <a:path w="305" h="265" extrusionOk="0">
                  <a:moveTo>
                    <a:pt x="288" y="1"/>
                  </a:moveTo>
                  <a:cubicBezTo>
                    <a:pt x="288" y="1"/>
                    <a:pt x="270" y="1"/>
                    <a:pt x="262" y="12"/>
                  </a:cubicBezTo>
                  <a:cubicBezTo>
                    <a:pt x="254" y="19"/>
                    <a:pt x="249" y="25"/>
                    <a:pt x="249" y="40"/>
                  </a:cubicBezTo>
                  <a:cubicBezTo>
                    <a:pt x="249" y="59"/>
                    <a:pt x="251" y="67"/>
                    <a:pt x="257" y="75"/>
                  </a:cubicBezTo>
                  <a:cubicBezTo>
                    <a:pt x="265" y="80"/>
                    <a:pt x="267" y="88"/>
                    <a:pt x="267" y="104"/>
                  </a:cubicBezTo>
                  <a:cubicBezTo>
                    <a:pt x="267" y="122"/>
                    <a:pt x="254" y="138"/>
                    <a:pt x="178" y="151"/>
                  </a:cubicBezTo>
                  <a:cubicBezTo>
                    <a:pt x="120" y="159"/>
                    <a:pt x="1" y="207"/>
                    <a:pt x="1" y="249"/>
                  </a:cubicBezTo>
                  <a:cubicBezTo>
                    <a:pt x="1" y="259"/>
                    <a:pt x="9" y="265"/>
                    <a:pt x="17" y="265"/>
                  </a:cubicBezTo>
                  <a:cubicBezTo>
                    <a:pt x="25" y="265"/>
                    <a:pt x="35" y="259"/>
                    <a:pt x="33" y="249"/>
                  </a:cubicBezTo>
                  <a:cubicBezTo>
                    <a:pt x="41" y="233"/>
                    <a:pt x="117" y="193"/>
                    <a:pt x="185" y="180"/>
                  </a:cubicBezTo>
                  <a:cubicBezTo>
                    <a:pt x="249" y="170"/>
                    <a:pt x="301" y="156"/>
                    <a:pt x="301" y="101"/>
                  </a:cubicBezTo>
                  <a:cubicBezTo>
                    <a:pt x="301" y="75"/>
                    <a:pt x="291" y="62"/>
                    <a:pt x="283" y="51"/>
                  </a:cubicBezTo>
                  <a:cubicBezTo>
                    <a:pt x="278" y="46"/>
                    <a:pt x="278" y="46"/>
                    <a:pt x="278" y="38"/>
                  </a:cubicBezTo>
                  <a:cubicBezTo>
                    <a:pt x="278" y="35"/>
                    <a:pt x="280" y="35"/>
                    <a:pt x="280" y="35"/>
                  </a:cubicBezTo>
                  <a:cubicBezTo>
                    <a:pt x="282" y="36"/>
                    <a:pt x="284" y="36"/>
                    <a:pt x="286" y="36"/>
                  </a:cubicBezTo>
                  <a:cubicBezTo>
                    <a:pt x="294" y="36"/>
                    <a:pt x="301" y="31"/>
                    <a:pt x="301" y="22"/>
                  </a:cubicBezTo>
                  <a:cubicBezTo>
                    <a:pt x="304" y="12"/>
                    <a:pt x="296" y="1"/>
                    <a:pt x="288" y="1"/>
                  </a:cubicBezTo>
                  <a:close/>
                </a:path>
              </a:pathLst>
            </a:custGeom>
            <a:solidFill>
              <a:srgbClr val="FFFFFF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defTabSz="914378"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3" name="Google Shape;91;p14">
              <a:extLst>
                <a:ext uri="{FF2B5EF4-FFF2-40B4-BE49-F238E27FC236}">
                  <a16:creationId xmlns:a16="http://schemas.microsoft.com/office/drawing/2014/main" id="{A83F5036-E6A2-4173-9C45-6044896E8024}"/>
                </a:ext>
              </a:extLst>
            </p:cNvPr>
            <p:cNvSpPr/>
            <p:nvPr/>
          </p:nvSpPr>
          <p:spPr>
            <a:xfrm>
              <a:off x="2626351" y="1211626"/>
              <a:ext cx="144099" cy="167727"/>
            </a:xfrm>
            <a:custGeom>
              <a:avLst/>
              <a:gdLst/>
              <a:ahLst/>
              <a:cxnLst/>
              <a:rect l="l" t="t" r="r" b="b"/>
              <a:pathLst>
                <a:path w="860" h="989" extrusionOk="0">
                  <a:moveTo>
                    <a:pt x="388" y="0"/>
                  </a:moveTo>
                  <a:cubicBezTo>
                    <a:pt x="119" y="0"/>
                    <a:pt x="0" y="206"/>
                    <a:pt x="0" y="351"/>
                  </a:cubicBezTo>
                  <a:cubicBezTo>
                    <a:pt x="0" y="451"/>
                    <a:pt x="58" y="556"/>
                    <a:pt x="108" y="643"/>
                  </a:cubicBezTo>
                  <a:cubicBezTo>
                    <a:pt x="137" y="693"/>
                    <a:pt x="164" y="738"/>
                    <a:pt x="164" y="764"/>
                  </a:cubicBezTo>
                  <a:cubicBezTo>
                    <a:pt x="164" y="820"/>
                    <a:pt x="77" y="925"/>
                    <a:pt x="45" y="962"/>
                  </a:cubicBezTo>
                  <a:cubicBezTo>
                    <a:pt x="40" y="970"/>
                    <a:pt x="40" y="978"/>
                    <a:pt x="45" y="986"/>
                  </a:cubicBezTo>
                  <a:cubicBezTo>
                    <a:pt x="48" y="989"/>
                    <a:pt x="50" y="989"/>
                    <a:pt x="55" y="989"/>
                  </a:cubicBezTo>
                  <a:cubicBezTo>
                    <a:pt x="58" y="989"/>
                    <a:pt x="66" y="986"/>
                    <a:pt x="71" y="986"/>
                  </a:cubicBezTo>
                  <a:cubicBezTo>
                    <a:pt x="84" y="973"/>
                    <a:pt x="200" y="844"/>
                    <a:pt x="200" y="770"/>
                  </a:cubicBezTo>
                  <a:cubicBezTo>
                    <a:pt x="200" y="736"/>
                    <a:pt x="174" y="691"/>
                    <a:pt x="140" y="630"/>
                  </a:cubicBezTo>
                  <a:cubicBezTo>
                    <a:pt x="95" y="548"/>
                    <a:pt x="34" y="446"/>
                    <a:pt x="34" y="353"/>
                  </a:cubicBezTo>
                  <a:cubicBezTo>
                    <a:pt x="34" y="251"/>
                    <a:pt x="124" y="37"/>
                    <a:pt x="390" y="37"/>
                  </a:cubicBezTo>
                  <a:cubicBezTo>
                    <a:pt x="659" y="37"/>
                    <a:pt x="746" y="251"/>
                    <a:pt x="746" y="311"/>
                  </a:cubicBezTo>
                  <a:cubicBezTo>
                    <a:pt x="746" y="374"/>
                    <a:pt x="735" y="409"/>
                    <a:pt x="735" y="409"/>
                  </a:cubicBezTo>
                  <a:cubicBezTo>
                    <a:pt x="735" y="417"/>
                    <a:pt x="735" y="419"/>
                    <a:pt x="741" y="422"/>
                  </a:cubicBezTo>
                  <a:cubicBezTo>
                    <a:pt x="783" y="496"/>
                    <a:pt x="830" y="585"/>
                    <a:pt x="830" y="601"/>
                  </a:cubicBezTo>
                  <a:cubicBezTo>
                    <a:pt x="830" y="612"/>
                    <a:pt x="801" y="620"/>
                    <a:pt x="780" y="627"/>
                  </a:cubicBezTo>
                  <a:cubicBezTo>
                    <a:pt x="775" y="627"/>
                    <a:pt x="772" y="630"/>
                    <a:pt x="770" y="633"/>
                  </a:cubicBezTo>
                  <a:lnTo>
                    <a:pt x="770" y="646"/>
                  </a:lnTo>
                  <a:lnTo>
                    <a:pt x="786" y="699"/>
                  </a:lnTo>
                  <a:lnTo>
                    <a:pt x="772" y="712"/>
                  </a:lnTo>
                  <a:cubicBezTo>
                    <a:pt x="767" y="720"/>
                    <a:pt x="767" y="730"/>
                    <a:pt x="772" y="736"/>
                  </a:cubicBezTo>
                  <a:cubicBezTo>
                    <a:pt x="776" y="739"/>
                    <a:pt x="781" y="741"/>
                    <a:pt x="785" y="741"/>
                  </a:cubicBezTo>
                  <a:cubicBezTo>
                    <a:pt x="789" y="741"/>
                    <a:pt x="793" y="739"/>
                    <a:pt x="796" y="736"/>
                  </a:cubicBezTo>
                  <a:lnTo>
                    <a:pt x="817" y="717"/>
                  </a:lnTo>
                  <a:cubicBezTo>
                    <a:pt x="820" y="712"/>
                    <a:pt x="822" y="707"/>
                    <a:pt x="820" y="699"/>
                  </a:cubicBezTo>
                  <a:lnTo>
                    <a:pt x="804" y="654"/>
                  </a:lnTo>
                  <a:cubicBezTo>
                    <a:pt x="825" y="646"/>
                    <a:pt x="859" y="630"/>
                    <a:pt x="859" y="601"/>
                  </a:cubicBezTo>
                  <a:cubicBezTo>
                    <a:pt x="859" y="572"/>
                    <a:pt x="796" y="454"/>
                    <a:pt x="770" y="409"/>
                  </a:cubicBezTo>
                  <a:cubicBezTo>
                    <a:pt x="770" y="396"/>
                    <a:pt x="778" y="361"/>
                    <a:pt x="778" y="309"/>
                  </a:cubicBezTo>
                  <a:cubicBezTo>
                    <a:pt x="778" y="222"/>
                    <a:pt x="662" y="0"/>
                    <a:pt x="388" y="0"/>
                  </a:cubicBezTo>
                  <a:close/>
                </a:path>
              </a:pathLst>
            </a:custGeom>
            <a:solidFill>
              <a:srgbClr val="FFFFFF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defTabSz="914378"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4" name="Google Shape;92;p14">
              <a:extLst>
                <a:ext uri="{FF2B5EF4-FFF2-40B4-BE49-F238E27FC236}">
                  <a16:creationId xmlns:a16="http://schemas.microsoft.com/office/drawing/2014/main" id="{1B6D9510-4024-425E-9FDE-708733956D97}"/>
                </a:ext>
              </a:extLst>
            </p:cNvPr>
            <p:cNvSpPr/>
            <p:nvPr/>
          </p:nvSpPr>
          <p:spPr>
            <a:xfrm>
              <a:off x="2657684" y="1240626"/>
              <a:ext cx="68531" cy="66311"/>
            </a:xfrm>
            <a:custGeom>
              <a:avLst/>
              <a:gdLst/>
              <a:ahLst/>
              <a:cxnLst/>
              <a:rect l="l" t="t" r="r" b="b"/>
              <a:pathLst>
                <a:path w="409" h="391" extrusionOk="0">
                  <a:moveTo>
                    <a:pt x="208" y="159"/>
                  </a:moveTo>
                  <a:cubicBezTo>
                    <a:pt x="224" y="159"/>
                    <a:pt x="240" y="172"/>
                    <a:pt x="240" y="193"/>
                  </a:cubicBezTo>
                  <a:cubicBezTo>
                    <a:pt x="240" y="211"/>
                    <a:pt x="227" y="225"/>
                    <a:pt x="208" y="225"/>
                  </a:cubicBezTo>
                  <a:cubicBezTo>
                    <a:pt x="187" y="225"/>
                    <a:pt x="174" y="211"/>
                    <a:pt x="174" y="193"/>
                  </a:cubicBezTo>
                  <a:cubicBezTo>
                    <a:pt x="174" y="172"/>
                    <a:pt x="187" y="159"/>
                    <a:pt x="208" y="159"/>
                  </a:cubicBezTo>
                  <a:close/>
                  <a:moveTo>
                    <a:pt x="208" y="127"/>
                  </a:moveTo>
                  <a:cubicBezTo>
                    <a:pt x="172" y="127"/>
                    <a:pt x="143" y="156"/>
                    <a:pt x="143" y="193"/>
                  </a:cubicBezTo>
                  <a:cubicBezTo>
                    <a:pt x="143" y="230"/>
                    <a:pt x="172" y="259"/>
                    <a:pt x="208" y="259"/>
                  </a:cubicBezTo>
                  <a:cubicBezTo>
                    <a:pt x="243" y="259"/>
                    <a:pt x="274" y="230"/>
                    <a:pt x="274" y="193"/>
                  </a:cubicBezTo>
                  <a:cubicBezTo>
                    <a:pt x="274" y="156"/>
                    <a:pt x="243" y="127"/>
                    <a:pt x="208" y="127"/>
                  </a:cubicBezTo>
                  <a:close/>
                  <a:moveTo>
                    <a:pt x="235" y="14"/>
                  </a:moveTo>
                  <a:lnTo>
                    <a:pt x="240" y="56"/>
                  </a:lnTo>
                  <a:cubicBezTo>
                    <a:pt x="240" y="64"/>
                    <a:pt x="243" y="66"/>
                    <a:pt x="251" y="69"/>
                  </a:cubicBezTo>
                  <a:cubicBezTo>
                    <a:pt x="264" y="77"/>
                    <a:pt x="274" y="80"/>
                    <a:pt x="280" y="87"/>
                  </a:cubicBezTo>
                  <a:cubicBezTo>
                    <a:pt x="283" y="89"/>
                    <a:pt x="287" y="91"/>
                    <a:pt x="291" y="91"/>
                  </a:cubicBezTo>
                  <a:cubicBezTo>
                    <a:pt x="292" y="91"/>
                    <a:pt x="294" y="91"/>
                    <a:pt x="295" y="90"/>
                  </a:cubicBezTo>
                  <a:lnTo>
                    <a:pt x="335" y="74"/>
                  </a:lnTo>
                  <a:lnTo>
                    <a:pt x="364" y="127"/>
                  </a:lnTo>
                  <a:lnTo>
                    <a:pt x="332" y="153"/>
                  </a:lnTo>
                  <a:cubicBezTo>
                    <a:pt x="330" y="156"/>
                    <a:pt x="324" y="161"/>
                    <a:pt x="324" y="169"/>
                  </a:cubicBezTo>
                  <a:lnTo>
                    <a:pt x="324" y="185"/>
                  </a:lnTo>
                  <a:lnTo>
                    <a:pt x="324" y="201"/>
                  </a:lnTo>
                  <a:cubicBezTo>
                    <a:pt x="324" y="209"/>
                    <a:pt x="330" y="214"/>
                    <a:pt x="332" y="219"/>
                  </a:cubicBezTo>
                  <a:lnTo>
                    <a:pt x="364" y="246"/>
                  </a:lnTo>
                  <a:lnTo>
                    <a:pt x="335" y="298"/>
                  </a:lnTo>
                  <a:lnTo>
                    <a:pt x="295" y="280"/>
                  </a:lnTo>
                  <a:cubicBezTo>
                    <a:pt x="290" y="280"/>
                    <a:pt x="282" y="280"/>
                    <a:pt x="280" y="285"/>
                  </a:cubicBezTo>
                  <a:cubicBezTo>
                    <a:pt x="274" y="290"/>
                    <a:pt x="264" y="298"/>
                    <a:pt x="253" y="301"/>
                  </a:cubicBezTo>
                  <a:cubicBezTo>
                    <a:pt x="248" y="304"/>
                    <a:pt x="243" y="309"/>
                    <a:pt x="243" y="314"/>
                  </a:cubicBezTo>
                  <a:lnTo>
                    <a:pt x="237" y="356"/>
                  </a:lnTo>
                  <a:lnTo>
                    <a:pt x="174" y="356"/>
                  </a:lnTo>
                  <a:lnTo>
                    <a:pt x="164" y="312"/>
                  </a:lnTo>
                  <a:cubicBezTo>
                    <a:pt x="164" y="304"/>
                    <a:pt x="161" y="301"/>
                    <a:pt x="156" y="298"/>
                  </a:cubicBezTo>
                  <a:cubicBezTo>
                    <a:pt x="145" y="290"/>
                    <a:pt x="135" y="288"/>
                    <a:pt x="129" y="280"/>
                  </a:cubicBezTo>
                  <a:cubicBezTo>
                    <a:pt x="124" y="278"/>
                    <a:pt x="121" y="276"/>
                    <a:pt x="117" y="276"/>
                  </a:cubicBezTo>
                  <a:cubicBezTo>
                    <a:pt x="115" y="276"/>
                    <a:pt x="113" y="276"/>
                    <a:pt x="111" y="277"/>
                  </a:cubicBezTo>
                  <a:lnTo>
                    <a:pt x="71" y="293"/>
                  </a:lnTo>
                  <a:lnTo>
                    <a:pt x="42" y="240"/>
                  </a:lnTo>
                  <a:lnTo>
                    <a:pt x="77" y="214"/>
                  </a:lnTo>
                  <a:cubicBezTo>
                    <a:pt x="79" y="211"/>
                    <a:pt x="82" y="206"/>
                    <a:pt x="82" y="198"/>
                  </a:cubicBezTo>
                  <a:lnTo>
                    <a:pt x="82" y="182"/>
                  </a:lnTo>
                  <a:lnTo>
                    <a:pt x="82" y="169"/>
                  </a:lnTo>
                  <a:cubicBezTo>
                    <a:pt x="82" y="161"/>
                    <a:pt x="82" y="156"/>
                    <a:pt x="77" y="153"/>
                  </a:cubicBezTo>
                  <a:lnTo>
                    <a:pt x="42" y="127"/>
                  </a:lnTo>
                  <a:lnTo>
                    <a:pt x="71" y="74"/>
                  </a:lnTo>
                  <a:lnTo>
                    <a:pt x="111" y="90"/>
                  </a:lnTo>
                  <a:cubicBezTo>
                    <a:pt x="119" y="90"/>
                    <a:pt x="124" y="90"/>
                    <a:pt x="129" y="87"/>
                  </a:cubicBezTo>
                  <a:cubicBezTo>
                    <a:pt x="135" y="80"/>
                    <a:pt x="145" y="74"/>
                    <a:pt x="156" y="69"/>
                  </a:cubicBezTo>
                  <a:cubicBezTo>
                    <a:pt x="161" y="66"/>
                    <a:pt x="164" y="64"/>
                    <a:pt x="164" y="56"/>
                  </a:cubicBezTo>
                  <a:lnTo>
                    <a:pt x="172" y="14"/>
                  </a:lnTo>
                  <a:close/>
                  <a:moveTo>
                    <a:pt x="164" y="1"/>
                  </a:moveTo>
                  <a:cubicBezTo>
                    <a:pt x="150" y="1"/>
                    <a:pt x="137" y="11"/>
                    <a:pt x="137" y="24"/>
                  </a:cubicBezTo>
                  <a:lnTo>
                    <a:pt x="132" y="64"/>
                  </a:lnTo>
                  <a:lnTo>
                    <a:pt x="111" y="74"/>
                  </a:lnTo>
                  <a:lnTo>
                    <a:pt x="71" y="56"/>
                  </a:lnTo>
                  <a:cubicBezTo>
                    <a:pt x="69" y="54"/>
                    <a:pt x="67" y="54"/>
                    <a:pt x="64" y="54"/>
                  </a:cubicBezTo>
                  <a:cubicBezTo>
                    <a:pt x="57" y="54"/>
                    <a:pt x="48" y="59"/>
                    <a:pt x="42" y="66"/>
                  </a:cubicBezTo>
                  <a:lnTo>
                    <a:pt x="6" y="130"/>
                  </a:lnTo>
                  <a:cubicBezTo>
                    <a:pt x="0" y="140"/>
                    <a:pt x="3" y="153"/>
                    <a:pt x="13" y="161"/>
                  </a:cubicBezTo>
                  <a:lnTo>
                    <a:pt x="45" y="185"/>
                  </a:lnTo>
                  <a:lnTo>
                    <a:pt x="45" y="196"/>
                  </a:lnTo>
                  <a:lnTo>
                    <a:pt x="45" y="206"/>
                  </a:lnTo>
                  <a:lnTo>
                    <a:pt x="13" y="232"/>
                  </a:lnTo>
                  <a:cubicBezTo>
                    <a:pt x="3" y="243"/>
                    <a:pt x="0" y="254"/>
                    <a:pt x="6" y="264"/>
                  </a:cubicBezTo>
                  <a:lnTo>
                    <a:pt x="42" y="327"/>
                  </a:lnTo>
                  <a:cubicBezTo>
                    <a:pt x="50" y="335"/>
                    <a:pt x="59" y="339"/>
                    <a:pt x="68" y="339"/>
                  </a:cubicBezTo>
                  <a:cubicBezTo>
                    <a:pt x="71" y="339"/>
                    <a:pt x="74" y="338"/>
                    <a:pt x="77" y="338"/>
                  </a:cubicBezTo>
                  <a:lnTo>
                    <a:pt x="116" y="319"/>
                  </a:lnTo>
                  <a:lnTo>
                    <a:pt x="135" y="330"/>
                  </a:lnTo>
                  <a:lnTo>
                    <a:pt x="143" y="369"/>
                  </a:lnTo>
                  <a:cubicBezTo>
                    <a:pt x="145" y="380"/>
                    <a:pt x="156" y="391"/>
                    <a:pt x="169" y="391"/>
                  </a:cubicBezTo>
                  <a:lnTo>
                    <a:pt x="243" y="391"/>
                  </a:lnTo>
                  <a:cubicBezTo>
                    <a:pt x="256" y="391"/>
                    <a:pt x="266" y="380"/>
                    <a:pt x="269" y="364"/>
                  </a:cubicBezTo>
                  <a:lnTo>
                    <a:pt x="277" y="325"/>
                  </a:lnTo>
                  <a:lnTo>
                    <a:pt x="295" y="314"/>
                  </a:lnTo>
                  <a:lnTo>
                    <a:pt x="335" y="330"/>
                  </a:lnTo>
                  <a:cubicBezTo>
                    <a:pt x="338" y="332"/>
                    <a:pt x="341" y="333"/>
                    <a:pt x="344" y="333"/>
                  </a:cubicBezTo>
                  <a:cubicBezTo>
                    <a:pt x="353" y="333"/>
                    <a:pt x="361" y="327"/>
                    <a:pt x="367" y="319"/>
                  </a:cubicBezTo>
                  <a:lnTo>
                    <a:pt x="401" y="259"/>
                  </a:lnTo>
                  <a:cubicBezTo>
                    <a:pt x="409" y="248"/>
                    <a:pt x="406" y="235"/>
                    <a:pt x="396" y="225"/>
                  </a:cubicBezTo>
                  <a:lnTo>
                    <a:pt x="361" y="203"/>
                  </a:lnTo>
                  <a:lnTo>
                    <a:pt x="361" y="193"/>
                  </a:lnTo>
                  <a:lnTo>
                    <a:pt x="361" y="182"/>
                  </a:lnTo>
                  <a:lnTo>
                    <a:pt x="396" y="159"/>
                  </a:lnTo>
                  <a:cubicBezTo>
                    <a:pt x="406" y="153"/>
                    <a:pt x="409" y="138"/>
                    <a:pt x="401" y="127"/>
                  </a:cubicBezTo>
                  <a:lnTo>
                    <a:pt x="367" y="64"/>
                  </a:lnTo>
                  <a:cubicBezTo>
                    <a:pt x="359" y="56"/>
                    <a:pt x="350" y="52"/>
                    <a:pt x="341" y="52"/>
                  </a:cubicBezTo>
                  <a:cubicBezTo>
                    <a:pt x="338" y="52"/>
                    <a:pt x="335" y="53"/>
                    <a:pt x="332" y="53"/>
                  </a:cubicBezTo>
                  <a:lnTo>
                    <a:pt x="293" y="72"/>
                  </a:lnTo>
                  <a:lnTo>
                    <a:pt x="274" y="61"/>
                  </a:lnTo>
                  <a:lnTo>
                    <a:pt x="266" y="22"/>
                  </a:lnTo>
                  <a:cubicBezTo>
                    <a:pt x="264" y="11"/>
                    <a:pt x="253" y="1"/>
                    <a:pt x="240" y="1"/>
                  </a:cubicBezTo>
                  <a:close/>
                </a:path>
              </a:pathLst>
            </a:custGeom>
            <a:solidFill>
              <a:srgbClr val="FFFFFF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defTabSz="914378"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</p:grpSp>
      <p:sp>
        <p:nvSpPr>
          <p:cNvPr id="145" name="Google Shape;93;p14">
            <a:extLst>
              <a:ext uri="{FF2B5EF4-FFF2-40B4-BE49-F238E27FC236}">
                <a16:creationId xmlns:a16="http://schemas.microsoft.com/office/drawing/2014/main" id="{0EA90B20-4C2A-42D0-8BD4-A8AA2A72EA35}"/>
              </a:ext>
            </a:extLst>
          </p:cNvPr>
          <p:cNvSpPr txBox="1"/>
          <p:nvPr/>
        </p:nvSpPr>
        <p:spPr>
          <a:xfrm>
            <a:off x="159875" y="1798500"/>
            <a:ext cx="2420700" cy="270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>
              <a:defRPr lang="nb-NO"/>
            </a:defPPr>
            <a:lvl1pPr marL="380990" indent="-304792" defTabSz="1219170">
              <a:buClr>
                <a:srgbClr val="32756D"/>
              </a:buClr>
              <a:buSzPts val="900"/>
              <a:buFont typeface="Arial"/>
              <a:buChar char="●"/>
              <a:defRPr sz="900" kern="0">
                <a:solidFill>
                  <a:srgbClr val="000000"/>
                </a:solidFill>
                <a:latin typeface="Arial"/>
                <a:cs typeface="Arial"/>
              </a:defRPr>
            </a:lvl1pPr>
          </a:lstStyle>
          <a:p>
            <a:pPr marL="285743" indent="-228594" defTabSz="914378"/>
            <a:r>
              <a:rPr lang="nb-NO" sz="675" dirty="0">
                <a:sym typeface="Arial"/>
              </a:rPr>
              <a:t>Særskilt kunnskap på sitt definerte fagområde </a:t>
            </a:r>
          </a:p>
          <a:p>
            <a:pPr marL="285743" indent="-228594" defTabSz="914378"/>
            <a:r>
              <a:rPr lang="nb-NO" sz="675" dirty="0">
                <a:sym typeface="Arial"/>
              </a:rPr>
              <a:t>Kunnskap om avtaleportefølje innenfor sitt område og de varer og tjenester som disse avtalene omfatter </a:t>
            </a:r>
          </a:p>
          <a:p>
            <a:pPr marL="285743" indent="-228594" defTabSz="914378"/>
            <a:r>
              <a:rPr lang="nb-NO" sz="675" dirty="0">
                <a:sym typeface="Arial"/>
              </a:rPr>
              <a:t>Må kunne opprette innkjøpsforespørsel i innkjøpsløsning</a:t>
            </a:r>
          </a:p>
          <a:p>
            <a:pPr marL="57149" indent="0" defTabSz="914378">
              <a:buNone/>
            </a:pPr>
            <a:r>
              <a:rPr lang="nb-NO" sz="675" dirty="0">
                <a:sym typeface="Arial"/>
              </a:rPr>
              <a:t>Grunnleggende kunnskap:</a:t>
            </a:r>
          </a:p>
          <a:p>
            <a:pPr marL="628643" lvl="1" indent="-228594" defTabSz="914378">
              <a:buClr>
                <a:srgbClr val="32756D"/>
              </a:buClr>
              <a:buSzPts val="900"/>
              <a:buFont typeface="Courier New" panose="02070309020205020404" pitchFamily="49" charset="0"/>
              <a:buChar char="o"/>
            </a:pPr>
            <a:r>
              <a:rPr lang="nb-NO" sz="675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Virksomhetens organisering av innkjøpsarbeidet og interne retningslinjer og rutiner</a:t>
            </a:r>
          </a:p>
          <a:p>
            <a:pPr marL="628643" lvl="1" indent="-228594" defTabSz="914378">
              <a:buClr>
                <a:srgbClr val="32756D"/>
              </a:buClr>
              <a:buSzPts val="900"/>
              <a:buFont typeface="Courier New" panose="02070309020205020404" pitchFamily="49" charset="0"/>
              <a:buChar char="o"/>
            </a:pPr>
            <a:r>
              <a:rPr lang="nb-NO" sz="675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Bruk av konteringsstreng innenfor fagområdet</a:t>
            </a:r>
          </a:p>
          <a:p>
            <a:pPr marL="628643" lvl="1" indent="-228594" defTabSz="914378">
              <a:buClr>
                <a:srgbClr val="32756D"/>
              </a:buClr>
              <a:buSzPts val="900"/>
              <a:buFont typeface="Courier New" panose="02070309020205020404" pitchFamily="49" charset="0"/>
              <a:buChar char="o"/>
            </a:pPr>
            <a:r>
              <a:rPr lang="nb-NO" sz="675" kern="0" dirty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Btb</a:t>
            </a:r>
            <a:r>
              <a:rPr lang="nb-NO" sz="675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-prosessen</a:t>
            </a:r>
          </a:p>
          <a:p>
            <a:pPr marL="628643" lvl="1" indent="-228594" defTabSz="914378">
              <a:buClr>
                <a:srgbClr val="32756D"/>
              </a:buClr>
              <a:buSzPts val="900"/>
              <a:buFont typeface="Courier New" panose="02070309020205020404" pitchFamily="49" charset="0"/>
              <a:buChar char="o"/>
            </a:pPr>
            <a:r>
              <a:rPr lang="nb-NO" sz="675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Mva.-behandling og anleggsregistrering innenfor sitt fagområde</a:t>
            </a:r>
          </a:p>
          <a:p>
            <a:pPr marL="628643" lvl="1" indent="-228594" defTabSz="914378">
              <a:buClr>
                <a:srgbClr val="32756D"/>
              </a:buClr>
              <a:buSzPts val="900"/>
              <a:buFont typeface="Courier New" panose="02070309020205020404" pitchFamily="49" charset="0"/>
              <a:buChar char="o"/>
            </a:pPr>
            <a:r>
              <a:rPr lang="nb-NO" sz="675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Reglement for økonomistyring i staten</a:t>
            </a:r>
          </a:p>
          <a:p>
            <a:pPr marL="400049" lvl="1" defTabSz="914378">
              <a:buClr>
                <a:srgbClr val="32756D"/>
              </a:buClr>
              <a:buSzPts val="900"/>
            </a:pPr>
            <a:endParaRPr lang="nb-NO" sz="675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marL="114297" indent="0" defTabSz="914378">
              <a:buNone/>
            </a:pPr>
            <a:r>
              <a:rPr lang="nb-NO" sz="675" dirty="0">
                <a:sym typeface="Arial"/>
              </a:rPr>
              <a:t>Inngående kunnskap:</a:t>
            </a:r>
          </a:p>
          <a:p>
            <a:pPr marL="342891" indent="-228594" defTabSz="914378"/>
            <a:r>
              <a:rPr lang="nb-NO" sz="675" dirty="0">
                <a:sym typeface="Arial"/>
              </a:rPr>
              <a:t>Reglement for økonomistyring i staten:</a:t>
            </a:r>
          </a:p>
          <a:p>
            <a:pPr marL="628643" lvl="1" indent="-228594" defTabSz="914378">
              <a:buClr>
                <a:srgbClr val="32756D"/>
              </a:buClr>
              <a:buSzPts val="900"/>
              <a:buFont typeface="Courier New" panose="02070309020205020404" pitchFamily="49" charset="0"/>
              <a:buChar char="o"/>
            </a:pPr>
            <a:r>
              <a:rPr lang="nb-NO" sz="675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2.5.2.2 Attestasjon</a:t>
            </a:r>
          </a:p>
          <a:p>
            <a:pPr marL="628643" lvl="1" indent="-228594" defTabSz="914378">
              <a:buClr>
                <a:srgbClr val="32756D"/>
              </a:buClr>
              <a:buSzPts val="900"/>
              <a:buFont typeface="Courier New" panose="02070309020205020404" pitchFamily="49" charset="0"/>
              <a:buChar char="o"/>
            </a:pPr>
            <a:r>
              <a:rPr lang="nb-NO" sz="675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5.3.4 Varemottak</a:t>
            </a:r>
          </a:p>
          <a:p>
            <a:pPr marL="628643" lvl="1" indent="-228594" defTabSz="914378">
              <a:buClr>
                <a:srgbClr val="32756D"/>
              </a:buClr>
              <a:buSzPts val="900"/>
              <a:buFont typeface="Courier New" panose="02070309020205020404" pitchFamily="49" charset="0"/>
              <a:buChar char="o"/>
            </a:pPr>
            <a:r>
              <a:rPr lang="nb-NO" sz="675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5.3.5.2 Attestasjon</a:t>
            </a:r>
          </a:p>
          <a:p>
            <a:pPr marL="614361" lvl="1" indent="-214313" defTabSz="685800">
              <a:buFont typeface="Courier New" panose="02070309020205020404" pitchFamily="49" charset="0"/>
              <a:buChar char="o"/>
            </a:pPr>
            <a:endParaRPr lang="nb-NO" sz="675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marL="571485" indent="-228594" defTabSz="914378">
              <a:buFont typeface="Courier New" panose="02070309020205020404" pitchFamily="49" charset="0"/>
              <a:buChar char="o"/>
            </a:pPr>
            <a:endParaRPr lang="nb-NO" sz="100" dirty="0">
              <a:sym typeface="Arial"/>
            </a:endParaRPr>
          </a:p>
        </p:txBody>
      </p:sp>
      <p:sp>
        <p:nvSpPr>
          <p:cNvPr id="146" name="Google Shape;94;p14">
            <a:extLst>
              <a:ext uri="{FF2B5EF4-FFF2-40B4-BE49-F238E27FC236}">
                <a16:creationId xmlns:a16="http://schemas.microsoft.com/office/drawing/2014/main" id="{B7EDA6D0-5531-4197-84AD-8DE69E613A50}"/>
              </a:ext>
            </a:extLst>
          </p:cNvPr>
          <p:cNvSpPr txBox="1"/>
          <p:nvPr/>
        </p:nvSpPr>
        <p:spPr>
          <a:xfrm>
            <a:off x="3117682" y="2739838"/>
            <a:ext cx="1630800" cy="25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>
              <a:defRPr lang="nb-NO"/>
            </a:defPPr>
            <a:lvl1pPr defTabSz="1219170">
              <a:buClr>
                <a:srgbClr val="000000"/>
              </a:buClr>
              <a:defRPr b="1" kern="0">
                <a:solidFill>
                  <a:srgbClr val="32756D"/>
                </a:solidFill>
                <a:latin typeface="Arial"/>
                <a:cs typeface="Arial"/>
              </a:defRPr>
            </a:lvl1pPr>
          </a:lstStyle>
          <a:p>
            <a:pPr defTabSz="914378"/>
            <a:r>
              <a:rPr lang="en" sz="1350">
                <a:sym typeface="Arial"/>
              </a:rPr>
              <a:t>Systemtilganger</a:t>
            </a:r>
            <a:endParaRPr sz="1350">
              <a:sym typeface="Arial"/>
            </a:endParaRPr>
          </a:p>
        </p:txBody>
      </p:sp>
      <p:sp>
        <p:nvSpPr>
          <p:cNvPr id="147" name="Google Shape;95;p14">
            <a:extLst>
              <a:ext uri="{FF2B5EF4-FFF2-40B4-BE49-F238E27FC236}">
                <a16:creationId xmlns:a16="http://schemas.microsoft.com/office/drawing/2014/main" id="{0D2B3D68-D343-4E7A-B33B-9372AE641133}"/>
              </a:ext>
            </a:extLst>
          </p:cNvPr>
          <p:cNvSpPr/>
          <p:nvPr/>
        </p:nvSpPr>
        <p:spPr>
          <a:xfrm>
            <a:off x="5869225" y="3661050"/>
            <a:ext cx="3157200" cy="889200"/>
          </a:xfrm>
          <a:prstGeom prst="rect">
            <a:avLst/>
          </a:prstGeom>
          <a:solidFill>
            <a:srgbClr val="EEEEEE">
              <a:alpha val="4916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defTabSz="914378">
              <a:buClr>
                <a:srgbClr val="000000"/>
              </a:buClr>
            </a:pPr>
            <a:endParaRPr sz="1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48" name="Google Shape;96;p14">
            <a:extLst>
              <a:ext uri="{FF2B5EF4-FFF2-40B4-BE49-F238E27FC236}">
                <a16:creationId xmlns:a16="http://schemas.microsoft.com/office/drawing/2014/main" id="{22CFD227-D669-46FA-B9B8-3D02529952AF}"/>
              </a:ext>
            </a:extLst>
          </p:cNvPr>
          <p:cNvSpPr txBox="1"/>
          <p:nvPr/>
        </p:nvSpPr>
        <p:spPr>
          <a:xfrm>
            <a:off x="5908850" y="3933900"/>
            <a:ext cx="26322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>
              <a:defRPr lang="nb-NO"/>
            </a:defPPr>
            <a:lvl1pPr marL="380990" indent="-304792" defTabSz="1219170">
              <a:buClr>
                <a:srgbClr val="32756D"/>
              </a:buClr>
              <a:buSzPts val="900"/>
              <a:buFont typeface="Arial"/>
              <a:buChar char="●"/>
              <a:defRPr sz="900" kern="0">
                <a:solidFill>
                  <a:srgbClr val="000000"/>
                </a:solidFill>
                <a:latin typeface="Arial"/>
                <a:cs typeface="Arial"/>
              </a:defRPr>
            </a:lvl1pPr>
          </a:lstStyle>
          <a:p>
            <a:pPr marL="285743" indent="-228594" defTabSz="914378"/>
            <a:r>
              <a:rPr lang="nb-NO" sz="675">
                <a:sym typeface="Arial"/>
              </a:rPr>
              <a:t>Unit4 ERP </a:t>
            </a:r>
          </a:p>
          <a:p>
            <a:pPr marL="285743" indent="-228594" defTabSz="914378"/>
            <a:endParaRPr lang="nb-NO" sz="675">
              <a:sym typeface="Arial"/>
            </a:endParaRPr>
          </a:p>
        </p:txBody>
      </p:sp>
      <p:sp>
        <p:nvSpPr>
          <p:cNvPr id="149" name="Google Shape;97;p14">
            <a:extLst>
              <a:ext uri="{FF2B5EF4-FFF2-40B4-BE49-F238E27FC236}">
                <a16:creationId xmlns:a16="http://schemas.microsoft.com/office/drawing/2014/main" id="{AE8295FC-ED8E-4D63-AF84-B4556A6BDE5C}"/>
              </a:ext>
            </a:extLst>
          </p:cNvPr>
          <p:cNvSpPr txBox="1"/>
          <p:nvPr/>
        </p:nvSpPr>
        <p:spPr>
          <a:xfrm>
            <a:off x="6340007" y="3751200"/>
            <a:ext cx="1630800" cy="25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>
              <a:defRPr lang="nb-NO"/>
            </a:defPPr>
            <a:lvl1pPr defTabSz="1219170">
              <a:buClr>
                <a:srgbClr val="000000"/>
              </a:buClr>
              <a:defRPr b="1" kern="0">
                <a:solidFill>
                  <a:srgbClr val="32756D"/>
                </a:solidFill>
                <a:latin typeface="Arial"/>
                <a:cs typeface="Arial"/>
              </a:defRPr>
            </a:lvl1pPr>
          </a:lstStyle>
          <a:p>
            <a:pPr defTabSz="914378"/>
            <a:r>
              <a:rPr lang="en" sz="1350">
                <a:sym typeface="Arial"/>
              </a:rPr>
              <a:t>Lisensiering</a:t>
            </a:r>
            <a:endParaRPr sz="1350">
              <a:sym typeface="Arial"/>
            </a:endParaRPr>
          </a:p>
        </p:txBody>
      </p:sp>
      <p:sp>
        <p:nvSpPr>
          <p:cNvPr id="150" name="Google Shape;98;p14">
            <a:extLst>
              <a:ext uri="{FF2B5EF4-FFF2-40B4-BE49-F238E27FC236}">
                <a16:creationId xmlns:a16="http://schemas.microsoft.com/office/drawing/2014/main" id="{880C712D-DC86-47E7-93A7-690037201730}"/>
              </a:ext>
            </a:extLst>
          </p:cNvPr>
          <p:cNvSpPr/>
          <p:nvPr/>
        </p:nvSpPr>
        <p:spPr>
          <a:xfrm>
            <a:off x="5869225" y="777899"/>
            <a:ext cx="3156000" cy="2818725"/>
          </a:xfrm>
          <a:prstGeom prst="rect">
            <a:avLst/>
          </a:prstGeom>
          <a:solidFill>
            <a:srgbClr val="EEEEEE">
              <a:alpha val="4916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defTabSz="914378">
              <a:buClr>
                <a:srgbClr val="000000"/>
              </a:buClr>
            </a:pPr>
            <a:endParaRPr sz="1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grpSp>
        <p:nvGrpSpPr>
          <p:cNvPr id="151" name="Google Shape;99;p14">
            <a:extLst>
              <a:ext uri="{FF2B5EF4-FFF2-40B4-BE49-F238E27FC236}">
                <a16:creationId xmlns:a16="http://schemas.microsoft.com/office/drawing/2014/main" id="{F9628340-1BE0-496C-8C27-392274977870}"/>
              </a:ext>
            </a:extLst>
          </p:cNvPr>
          <p:cNvGrpSpPr/>
          <p:nvPr/>
        </p:nvGrpSpPr>
        <p:grpSpPr>
          <a:xfrm>
            <a:off x="6044661" y="899261"/>
            <a:ext cx="144082" cy="196479"/>
            <a:chOff x="1062548" y="1906915"/>
            <a:chExt cx="223176" cy="304336"/>
          </a:xfrm>
        </p:grpSpPr>
        <p:sp>
          <p:nvSpPr>
            <p:cNvPr id="152" name="Google Shape;100;p14">
              <a:extLst>
                <a:ext uri="{FF2B5EF4-FFF2-40B4-BE49-F238E27FC236}">
                  <a16:creationId xmlns:a16="http://schemas.microsoft.com/office/drawing/2014/main" id="{44B04FA5-B262-4EE0-8E91-3DFF15CCA1F5}"/>
                </a:ext>
              </a:extLst>
            </p:cNvPr>
            <p:cNvSpPr/>
            <p:nvPr/>
          </p:nvSpPr>
          <p:spPr>
            <a:xfrm>
              <a:off x="1103127" y="2008363"/>
              <a:ext cx="142021" cy="9837"/>
            </a:xfrm>
            <a:custGeom>
              <a:avLst/>
              <a:gdLst/>
              <a:ahLst/>
              <a:cxnLst/>
              <a:rect l="l" t="t" r="r" b="b"/>
              <a:pathLst>
                <a:path w="462" h="32" extrusionOk="0">
                  <a:moveTo>
                    <a:pt x="16" y="0"/>
                  </a:moveTo>
                  <a:cubicBezTo>
                    <a:pt x="8" y="0"/>
                    <a:pt x="0" y="5"/>
                    <a:pt x="0" y="16"/>
                  </a:cubicBezTo>
                  <a:cubicBezTo>
                    <a:pt x="0" y="27"/>
                    <a:pt x="8" y="32"/>
                    <a:pt x="16" y="32"/>
                  </a:cubicBezTo>
                  <a:lnTo>
                    <a:pt x="446" y="32"/>
                  </a:lnTo>
                  <a:cubicBezTo>
                    <a:pt x="456" y="32"/>
                    <a:pt x="462" y="27"/>
                    <a:pt x="462" y="16"/>
                  </a:cubicBezTo>
                  <a:cubicBezTo>
                    <a:pt x="462" y="5"/>
                    <a:pt x="456" y="0"/>
                    <a:pt x="446" y="0"/>
                  </a:cubicBezTo>
                  <a:close/>
                </a:path>
              </a:pathLst>
            </a:custGeom>
            <a:solidFill>
              <a:srgbClr val="FFFFFF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defTabSz="914378"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53" name="Google Shape;101;p14">
              <a:extLst>
                <a:ext uri="{FF2B5EF4-FFF2-40B4-BE49-F238E27FC236}">
                  <a16:creationId xmlns:a16="http://schemas.microsoft.com/office/drawing/2014/main" id="{740B1F5F-4C48-4D61-8FAA-137F2099C95E}"/>
                </a:ext>
              </a:extLst>
            </p:cNvPr>
            <p:cNvSpPr/>
            <p:nvPr/>
          </p:nvSpPr>
          <p:spPr>
            <a:xfrm>
              <a:off x="1174447" y="1967784"/>
              <a:ext cx="70703" cy="10145"/>
            </a:xfrm>
            <a:custGeom>
              <a:avLst/>
              <a:gdLst/>
              <a:ahLst/>
              <a:cxnLst/>
              <a:rect l="l" t="t" r="r" b="b"/>
              <a:pathLst>
                <a:path w="230" h="33" extrusionOk="0">
                  <a:moveTo>
                    <a:pt x="16" y="0"/>
                  </a:moveTo>
                  <a:cubicBezTo>
                    <a:pt x="5" y="0"/>
                    <a:pt x="0" y="6"/>
                    <a:pt x="0" y="16"/>
                  </a:cubicBezTo>
                  <a:cubicBezTo>
                    <a:pt x="0" y="27"/>
                    <a:pt x="5" y="32"/>
                    <a:pt x="16" y="32"/>
                  </a:cubicBezTo>
                  <a:lnTo>
                    <a:pt x="214" y="32"/>
                  </a:lnTo>
                  <a:cubicBezTo>
                    <a:pt x="224" y="32"/>
                    <a:pt x="230" y="27"/>
                    <a:pt x="230" y="16"/>
                  </a:cubicBezTo>
                  <a:cubicBezTo>
                    <a:pt x="230" y="6"/>
                    <a:pt x="224" y="0"/>
                    <a:pt x="214" y="0"/>
                  </a:cubicBezTo>
                  <a:close/>
                </a:path>
              </a:pathLst>
            </a:custGeom>
            <a:solidFill>
              <a:srgbClr val="FFFFFF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defTabSz="914378"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54" name="Google Shape;102;p14">
              <a:extLst>
                <a:ext uri="{FF2B5EF4-FFF2-40B4-BE49-F238E27FC236}">
                  <a16:creationId xmlns:a16="http://schemas.microsoft.com/office/drawing/2014/main" id="{E5F571CC-1D17-4A7A-8AAB-187F64480CD1}"/>
                </a:ext>
              </a:extLst>
            </p:cNvPr>
            <p:cNvSpPr/>
            <p:nvPr/>
          </p:nvSpPr>
          <p:spPr>
            <a:xfrm>
              <a:off x="1062548" y="1906915"/>
              <a:ext cx="223176" cy="304336"/>
            </a:xfrm>
            <a:custGeom>
              <a:avLst/>
              <a:gdLst/>
              <a:ahLst/>
              <a:cxnLst/>
              <a:rect l="l" t="t" r="r" b="b"/>
              <a:pathLst>
                <a:path w="726" h="990" extrusionOk="0">
                  <a:moveTo>
                    <a:pt x="694" y="32"/>
                  </a:moveTo>
                  <a:lnTo>
                    <a:pt x="694" y="955"/>
                  </a:lnTo>
                  <a:lnTo>
                    <a:pt x="35" y="955"/>
                  </a:lnTo>
                  <a:lnTo>
                    <a:pt x="35" y="288"/>
                  </a:lnTo>
                  <a:lnTo>
                    <a:pt x="288" y="32"/>
                  </a:lnTo>
                  <a:close/>
                  <a:moveTo>
                    <a:pt x="280" y="1"/>
                  </a:moveTo>
                  <a:cubicBezTo>
                    <a:pt x="275" y="1"/>
                    <a:pt x="272" y="1"/>
                    <a:pt x="267" y="3"/>
                  </a:cubicBezTo>
                  <a:lnTo>
                    <a:pt x="3" y="267"/>
                  </a:lnTo>
                  <a:cubicBezTo>
                    <a:pt x="3" y="270"/>
                    <a:pt x="1" y="277"/>
                    <a:pt x="1" y="280"/>
                  </a:cubicBezTo>
                  <a:lnTo>
                    <a:pt x="1" y="973"/>
                  </a:lnTo>
                  <a:cubicBezTo>
                    <a:pt x="1" y="981"/>
                    <a:pt x="8" y="989"/>
                    <a:pt x="16" y="989"/>
                  </a:cubicBezTo>
                  <a:lnTo>
                    <a:pt x="709" y="989"/>
                  </a:lnTo>
                  <a:cubicBezTo>
                    <a:pt x="720" y="989"/>
                    <a:pt x="725" y="981"/>
                    <a:pt x="725" y="973"/>
                  </a:cubicBezTo>
                  <a:lnTo>
                    <a:pt x="725" y="17"/>
                  </a:lnTo>
                  <a:cubicBezTo>
                    <a:pt x="725" y="6"/>
                    <a:pt x="720" y="1"/>
                    <a:pt x="709" y="1"/>
                  </a:cubicBezTo>
                  <a:close/>
                </a:path>
              </a:pathLst>
            </a:custGeom>
            <a:solidFill>
              <a:srgbClr val="FFFFFF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defTabSz="914378"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55" name="Google Shape;103;p14">
              <a:extLst>
                <a:ext uri="{FF2B5EF4-FFF2-40B4-BE49-F238E27FC236}">
                  <a16:creationId xmlns:a16="http://schemas.microsoft.com/office/drawing/2014/main" id="{1AA30183-2C7B-4E48-AB9F-F9399B89E3B4}"/>
                </a:ext>
              </a:extLst>
            </p:cNvPr>
            <p:cNvSpPr/>
            <p:nvPr/>
          </p:nvSpPr>
          <p:spPr>
            <a:xfrm>
              <a:off x="1062548" y="1906915"/>
              <a:ext cx="91914" cy="90993"/>
            </a:xfrm>
            <a:custGeom>
              <a:avLst/>
              <a:gdLst/>
              <a:ahLst/>
              <a:cxnLst/>
              <a:rect l="l" t="t" r="r" b="b"/>
              <a:pathLst>
                <a:path w="299" h="296" extrusionOk="0">
                  <a:moveTo>
                    <a:pt x="280" y="1"/>
                  </a:moveTo>
                  <a:cubicBezTo>
                    <a:pt x="272" y="1"/>
                    <a:pt x="264" y="6"/>
                    <a:pt x="264" y="17"/>
                  </a:cubicBezTo>
                  <a:lnTo>
                    <a:pt x="264" y="264"/>
                  </a:lnTo>
                  <a:lnTo>
                    <a:pt x="16" y="264"/>
                  </a:lnTo>
                  <a:cubicBezTo>
                    <a:pt x="8" y="264"/>
                    <a:pt x="1" y="270"/>
                    <a:pt x="1" y="280"/>
                  </a:cubicBezTo>
                  <a:cubicBezTo>
                    <a:pt x="1" y="291"/>
                    <a:pt x="8" y="296"/>
                    <a:pt x="16" y="296"/>
                  </a:cubicBezTo>
                  <a:lnTo>
                    <a:pt x="280" y="296"/>
                  </a:lnTo>
                  <a:cubicBezTo>
                    <a:pt x="290" y="296"/>
                    <a:pt x="298" y="291"/>
                    <a:pt x="298" y="280"/>
                  </a:cubicBezTo>
                  <a:lnTo>
                    <a:pt x="298" y="17"/>
                  </a:lnTo>
                  <a:cubicBezTo>
                    <a:pt x="298" y="6"/>
                    <a:pt x="290" y="1"/>
                    <a:pt x="280" y="1"/>
                  </a:cubicBezTo>
                  <a:close/>
                </a:path>
              </a:pathLst>
            </a:custGeom>
            <a:solidFill>
              <a:srgbClr val="FFFFFF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defTabSz="914378"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56" name="Google Shape;104;p14">
              <a:extLst>
                <a:ext uri="{FF2B5EF4-FFF2-40B4-BE49-F238E27FC236}">
                  <a16:creationId xmlns:a16="http://schemas.microsoft.com/office/drawing/2014/main" id="{9DF16B74-1E73-4937-864C-FE3949168AB0}"/>
                </a:ext>
              </a:extLst>
            </p:cNvPr>
            <p:cNvSpPr/>
            <p:nvPr/>
          </p:nvSpPr>
          <p:spPr>
            <a:xfrm>
              <a:off x="1103127" y="2048635"/>
              <a:ext cx="142021" cy="10145"/>
            </a:xfrm>
            <a:custGeom>
              <a:avLst/>
              <a:gdLst/>
              <a:ahLst/>
              <a:cxnLst/>
              <a:rect l="l" t="t" r="r" b="b"/>
              <a:pathLst>
                <a:path w="462" h="33" extrusionOk="0">
                  <a:moveTo>
                    <a:pt x="16" y="1"/>
                  </a:moveTo>
                  <a:cubicBezTo>
                    <a:pt x="8" y="1"/>
                    <a:pt x="0" y="6"/>
                    <a:pt x="0" y="17"/>
                  </a:cubicBezTo>
                  <a:cubicBezTo>
                    <a:pt x="0" y="27"/>
                    <a:pt x="8" y="33"/>
                    <a:pt x="16" y="33"/>
                  </a:cubicBezTo>
                  <a:lnTo>
                    <a:pt x="446" y="33"/>
                  </a:lnTo>
                  <a:cubicBezTo>
                    <a:pt x="456" y="33"/>
                    <a:pt x="462" y="27"/>
                    <a:pt x="462" y="17"/>
                  </a:cubicBezTo>
                  <a:cubicBezTo>
                    <a:pt x="462" y="6"/>
                    <a:pt x="456" y="1"/>
                    <a:pt x="446" y="1"/>
                  </a:cubicBezTo>
                  <a:close/>
                </a:path>
              </a:pathLst>
            </a:custGeom>
            <a:solidFill>
              <a:srgbClr val="FFFFFF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defTabSz="914378"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57" name="Google Shape;105;p14">
              <a:extLst>
                <a:ext uri="{FF2B5EF4-FFF2-40B4-BE49-F238E27FC236}">
                  <a16:creationId xmlns:a16="http://schemas.microsoft.com/office/drawing/2014/main" id="{5ED11E11-0B16-4E11-B3F2-299A20CB8CDD}"/>
                </a:ext>
              </a:extLst>
            </p:cNvPr>
            <p:cNvSpPr/>
            <p:nvPr/>
          </p:nvSpPr>
          <p:spPr>
            <a:xfrm>
              <a:off x="1103127" y="2089214"/>
              <a:ext cx="142021" cy="10145"/>
            </a:xfrm>
            <a:custGeom>
              <a:avLst/>
              <a:gdLst/>
              <a:ahLst/>
              <a:cxnLst/>
              <a:rect l="l" t="t" r="r" b="b"/>
              <a:pathLst>
                <a:path w="462" h="33" extrusionOk="0">
                  <a:moveTo>
                    <a:pt x="16" y="1"/>
                  </a:moveTo>
                  <a:cubicBezTo>
                    <a:pt x="8" y="1"/>
                    <a:pt x="0" y="6"/>
                    <a:pt x="0" y="17"/>
                  </a:cubicBezTo>
                  <a:cubicBezTo>
                    <a:pt x="0" y="27"/>
                    <a:pt x="8" y="32"/>
                    <a:pt x="16" y="32"/>
                  </a:cubicBezTo>
                  <a:lnTo>
                    <a:pt x="446" y="32"/>
                  </a:lnTo>
                  <a:cubicBezTo>
                    <a:pt x="456" y="32"/>
                    <a:pt x="462" y="27"/>
                    <a:pt x="462" y="17"/>
                  </a:cubicBezTo>
                  <a:cubicBezTo>
                    <a:pt x="462" y="6"/>
                    <a:pt x="456" y="1"/>
                    <a:pt x="446" y="1"/>
                  </a:cubicBezTo>
                  <a:close/>
                </a:path>
              </a:pathLst>
            </a:custGeom>
            <a:solidFill>
              <a:srgbClr val="FFFFFF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defTabSz="914378"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58" name="Google Shape;106;p14">
              <a:extLst>
                <a:ext uri="{FF2B5EF4-FFF2-40B4-BE49-F238E27FC236}">
                  <a16:creationId xmlns:a16="http://schemas.microsoft.com/office/drawing/2014/main" id="{D8DA2E96-7602-4BBC-8719-708FB8F7ADFB}"/>
                </a:ext>
              </a:extLst>
            </p:cNvPr>
            <p:cNvSpPr/>
            <p:nvPr/>
          </p:nvSpPr>
          <p:spPr>
            <a:xfrm>
              <a:off x="1103127" y="2129794"/>
              <a:ext cx="142021" cy="10145"/>
            </a:xfrm>
            <a:custGeom>
              <a:avLst/>
              <a:gdLst/>
              <a:ahLst/>
              <a:cxnLst/>
              <a:rect l="l" t="t" r="r" b="b"/>
              <a:pathLst>
                <a:path w="462" h="33" extrusionOk="0">
                  <a:moveTo>
                    <a:pt x="16" y="0"/>
                  </a:moveTo>
                  <a:cubicBezTo>
                    <a:pt x="8" y="0"/>
                    <a:pt x="0" y="6"/>
                    <a:pt x="0" y="16"/>
                  </a:cubicBezTo>
                  <a:cubicBezTo>
                    <a:pt x="0" y="27"/>
                    <a:pt x="8" y="32"/>
                    <a:pt x="16" y="32"/>
                  </a:cubicBezTo>
                  <a:lnTo>
                    <a:pt x="446" y="32"/>
                  </a:lnTo>
                  <a:cubicBezTo>
                    <a:pt x="456" y="32"/>
                    <a:pt x="462" y="27"/>
                    <a:pt x="462" y="16"/>
                  </a:cubicBezTo>
                  <a:cubicBezTo>
                    <a:pt x="462" y="6"/>
                    <a:pt x="456" y="0"/>
                    <a:pt x="446" y="0"/>
                  </a:cubicBezTo>
                  <a:close/>
                </a:path>
              </a:pathLst>
            </a:custGeom>
            <a:solidFill>
              <a:srgbClr val="FFFFFF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defTabSz="914378"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59" name="Google Shape;107;p14">
              <a:extLst>
                <a:ext uri="{FF2B5EF4-FFF2-40B4-BE49-F238E27FC236}">
                  <a16:creationId xmlns:a16="http://schemas.microsoft.com/office/drawing/2014/main" id="{540588AE-1094-41F9-BA65-14B781EAF4D8}"/>
                </a:ext>
              </a:extLst>
            </p:cNvPr>
            <p:cNvSpPr/>
            <p:nvPr/>
          </p:nvSpPr>
          <p:spPr>
            <a:xfrm>
              <a:off x="1103127" y="2170373"/>
              <a:ext cx="142021" cy="9837"/>
            </a:xfrm>
            <a:custGeom>
              <a:avLst/>
              <a:gdLst/>
              <a:ahLst/>
              <a:cxnLst/>
              <a:rect l="l" t="t" r="r" b="b"/>
              <a:pathLst>
                <a:path w="462" h="32" extrusionOk="0">
                  <a:moveTo>
                    <a:pt x="16" y="0"/>
                  </a:moveTo>
                  <a:cubicBezTo>
                    <a:pt x="8" y="0"/>
                    <a:pt x="0" y="6"/>
                    <a:pt x="0" y="16"/>
                  </a:cubicBezTo>
                  <a:cubicBezTo>
                    <a:pt x="0" y="27"/>
                    <a:pt x="8" y="32"/>
                    <a:pt x="16" y="32"/>
                  </a:cubicBezTo>
                  <a:lnTo>
                    <a:pt x="446" y="32"/>
                  </a:lnTo>
                  <a:cubicBezTo>
                    <a:pt x="456" y="32"/>
                    <a:pt x="462" y="27"/>
                    <a:pt x="462" y="16"/>
                  </a:cubicBezTo>
                  <a:cubicBezTo>
                    <a:pt x="462" y="6"/>
                    <a:pt x="456" y="0"/>
                    <a:pt x="446" y="0"/>
                  </a:cubicBezTo>
                  <a:close/>
                </a:path>
              </a:pathLst>
            </a:custGeom>
            <a:solidFill>
              <a:srgbClr val="FFFFFF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defTabSz="914378"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</p:grpSp>
      <p:sp>
        <p:nvSpPr>
          <p:cNvPr id="160" name="Google Shape;108;p14">
            <a:extLst>
              <a:ext uri="{FF2B5EF4-FFF2-40B4-BE49-F238E27FC236}">
                <a16:creationId xmlns:a16="http://schemas.microsoft.com/office/drawing/2014/main" id="{E56BE30A-CCF1-4108-9900-CAD272A71700}"/>
              </a:ext>
            </a:extLst>
          </p:cNvPr>
          <p:cNvSpPr txBox="1"/>
          <p:nvPr/>
        </p:nvSpPr>
        <p:spPr>
          <a:xfrm>
            <a:off x="5908725" y="1050750"/>
            <a:ext cx="3114900" cy="25393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>
              <a:defRPr lang="nb-NO"/>
            </a:defPPr>
            <a:lvl1pPr marL="380990" indent="-304792" defTabSz="1219170">
              <a:buClr>
                <a:srgbClr val="32756D"/>
              </a:buClr>
              <a:buSzPts val="900"/>
              <a:buFont typeface="Arial"/>
              <a:buChar char="●"/>
              <a:defRPr sz="900" kern="0">
                <a:solidFill>
                  <a:srgbClr val="000000"/>
                </a:solidFill>
                <a:latin typeface="Arial"/>
                <a:cs typeface="Arial"/>
              </a:defRPr>
            </a:lvl1pPr>
          </a:lstStyle>
          <a:p>
            <a:pPr marL="285743" indent="-228594" defTabSz="914378"/>
            <a:r>
              <a:rPr lang="nb-NO" sz="675" dirty="0">
                <a:sym typeface="Arial"/>
              </a:rPr>
              <a:t>Opprette innkjøpsforespørsel basert på innmeldt behov</a:t>
            </a:r>
          </a:p>
          <a:p>
            <a:pPr marL="285743" indent="-228594" defTabSz="914378"/>
            <a:r>
              <a:rPr lang="nb-NO" sz="675" dirty="0">
                <a:sym typeface="Arial"/>
              </a:rPr>
              <a:t>Innhente tilbud for varer og tjenester med verdi under 100 000 eks </a:t>
            </a:r>
            <a:r>
              <a:rPr lang="nb-NO" sz="675" dirty="0" err="1">
                <a:sym typeface="Arial"/>
              </a:rPr>
              <a:t>mva</a:t>
            </a:r>
            <a:r>
              <a:rPr lang="nb-NO" sz="675" dirty="0">
                <a:sym typeface="Arial"/>
              </a:rPr>
              <a:t>, og evaluere disse, der dette er relevant</a:t>
            </a:r>
          </a:p>
          <a:p>
            <a:pPr marL="285743" indent="-228594" defTabSz="914378"/>
            <a:r>
              <a:rPr lang="nb-NO" sz="675" dirty="0">
                <a:sym typeface="Arial"/>
              </a:rPr>
              <a:t>Foreslå kontering, inkludert mva. og eventuell anleggsregistrering </a:t>
            </a:r>
          </a:p>
          <a:p>
            <a:pPr marL="285743" indent="-228594" defTabSz="914378"/>
            <a:r>
              <a:rPr lang="nb-NO" sz="675" dirty="0">
                <a:sym typeface="Arial"/>
              </a:rPr>
              <a:t>Knytte innkjøpsforespørsel til eventuell avtale med anskaffelsesnummer</a:t>
            </a:r>
          </a:p>
          <a:p>
            <a:pPr marL="285743" indent="-228594" defTabSz="914378"/>
            <a:r>
              <a:rPr lang="nb-NO" sz="675" dirty="0">
                <a:sym typeface="Arial"/>
              </a:rPr>
              <a:t>Informere om produktpreferanser og leverandør dersom det foreslås bestilt fra en bestemt leverandør og bakgrunnen for dette, dersom det ikke er avtaleleverandør eller det er flere avtaleleverandører å velge blant</a:t>
            </a:r>
          </a:p>
          <a:p>
            <a:pPr marL="285743" indent="-228594" defTabSz="914378"/>
            <a:r>
              <a:rPr lang="nb-NO" sz="675" dirty="0">
                <a:sym typeface="Arial"/>
              </a:rPr>
              <a:t>Videreformidle innmeldt behov til anskaffelsesrådgiver dersom behovet ikke dekkes av eksisterende avtaleportefølje, og det anses som hensiktsmessig å etablere avtale på området</a:t>
            </a:r>
          </a:p>
          <a:p>
            <a:pPr marL="285743" indent="-228594" defTabSz="914378"/>
            <a:r>
              <a:rPr lang="nb-NO" sz="675" dirty="0">
                <a:sym typeface="Arial"/>
              </a:rPr>
              <a:t>Melde avvik på avtaler innenfor sitt fagområde til Anskaffelsesrådgiver</a:t>
            </a:r>
          </a:p>
          <a:p>
            <a:pPr marL="285743" indent="-228594" defTabSz="914378"/>
            <a:r>
              <a:rPr lang="nb-NO" sz="675" dirty="0">
                <a:sym typeface="Arial"/>
              </a:rPr>
              <a:t>Registrere varemottak i innkjøpsløsning når varen/tjenesten er mottatt og leveransen er i henhold til avtalen som er gjort ved bestilling</a:t>
            </a:r>
          </a:p>
          <a:p>
            <a:pPr marL="285743" indent="-228594" defTabSz="914378"/>
            <a:r>
              <a:rPr lang="nb-NO" sz="675" dirty="0">
                <a:sym typeface="Arial"/>
              </a:rPr>
              <a:t>Motta fakturaspørsmål fra innkjøper via «Informer» i løsningen og vurdere innholdet i fakturaen opp mot leveransen</a:t>
            </a:r>
          </a:p>
          <a:p>
            <a:pPr marL="285743" indent="-228594" defTabSz="914378"/>
            <a:r>
              <a:rPr lang="nb-NO" sz="675" dirty="0">
                <a:sym typeface="Arial"/>
              </a:rPr>
              <a:t>Tilbakemelde til innkjøper i løsningen om hvorvidt inngående faktura er i samsvar med leveranse</a:t>
            </a:r>
          </a:p>
          <a:p>
            <a:pPr marL="285743" indent="-228594" defTabSz="914378"/>
            <a:endParaRPr lang="nb-NO" sz="675" dirty="0">
              <a:sym typeface="Arial"/>
            </a:endParaRPr>
          </a:p>
        </p:txBody>
      </p:sp>
      <p:sp>
        <p:nvSpPr>
          <p:cNvPr id="161" name="Google Shape;109;p14">
            <a:extLst>
              <a:ext uri="{FF2B5EF4-FFF2-40B4-BE49-F238E27FC236}">
                <a16:creationId xmlns:a16="http://schemas.microsoft.com/office/drawing/2014/main" id="{3F729F9B-D5EB-4142-8A77-8593A41BD9B5}"/>
              </a:ext>
            </a:extLst>
          </p:cNvPr>
          <p:cNvSpPr txBox="1"/>
          <p:nvPr/>
        </p:nvSpPr>
        <p:spPr>
          <a:xfrm>
            <a:off x="6320988" y="868050"/>
            <a:ext cx="1985700" cy="25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>
              <a:defRPr lang="nb-NO"/>
            </a:defPPr>
            <a:lvl1pPr defTabSz="1219170">
              <a:buClr>
                <a:srgbClr val="000000"/>
              </a:buClr>
              <a:defRPr b="1" kern="0">
                <a:solidFill>
                  <a:srgbClr val="32756D"/>
                </a:solidFill>
                <a:latin typeface="Arial"/>
                <a:cs typeface="Arial"/>
              </a:defRPr>
            </a:lvl1pPr>
          </a:lstStyle>
          <a:p>
            <a:pPr defTabSz="914378"/>
            <a:r>
              <a:rPr lang="en" sz="1350">
                <a:sym typeface="Arial"/>
              </a:rPr>
              <a:t>Arbeidsoppgaver</a:t>
            </a:r>
            <a:endParaRPr sz="1350">
              <a:sym typeface="Arial"/>
            </a:endParaRPr>
          </a:p>
        </p:txBody>
      </p:sp>
      <p:sp>
        <p:nvSpPr>
          <p:cNvPr id="162" name="Google Shape;110;p14">
            <a:extLst>
              <a:ext uri="{FF2B5EF4-FFF2-40B4-BE49-F238E27FC236}">
                <a16:creationId xmlns:a16="http://schemas.microsoft.com/office/drawing/2014/main" id="{095D036E-7290-4EF7-A32C-B97FE3F165AD}"/>
              </a:ext>
            </a:extLst>
          </p:cNvPr>
          <p:cNvSpPr txBox="1"/>
          <p:nvPr/>
        </p:nvSpPr>
        <p:spPr>
          <a:xfrm>
            <a:off x="2686525" y="2969800"/>
            <a:ext cx="30045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>
              <a:defRPr lang="nb-NO"/>
            </a:defPPr>
            <a:lvl1pPr marL="380990" indent="-304792" defTabSz="1219170">
              <a:buClr>
                <a:srgbClr val="32756D"/>
              </a:buClr>
              <a:buSzPts val="900"/>
              <a:buFont typeface="Arial"/>
              <a:buChar char="●"/>
              <a:defRPr sz="900" kern="0">
                <a:solidFill>
                  <a:srgbClr val="000000"/>
                </a:solidFill>
                <a:latin typeface="Arial"/>
                <a:cs typeface="Arial"/>
              </a:defRPr>
            </a:lvl1pPr>
          </a:lstStyle>
          <a:p>
            <a:pPr marL="285743" indent="-228594" defTabSz="914378"/>
            <a:r>
              <a:rPr lang="nb-NO" sz="675">
                <a:sym typeface="Arial"/>
              </a:rPr>
              <a:t>Løsning for å motta behovsinnmelding</a:t>
            </a:r>
          </a:p>
          <a:p>
            <a:pPr marL="285743" indent="-228594" defTabSz="914378"/>
            <a:r>
              <a:rPr lang="nb-NO" sz="675">
                <a:sym typeface="Arial"/>
              </a:rPr>
              <a:t>Unit4 ERP innkjøpsløsning</a:t>
            </a:r>
          </a:p>
          <a:p>
            <a:pPr marL="285743" indent="-228594" defTabSz="914378"/>
            <a:r>
              <a:rPr lang="nb-NO" sz="675">
                <a:sym typeface="Arial"/>
              </a:rPr>
              <a:t>Avtalekatalogen</a:t>
            </a:r>
          </a:p>
          <a:p>
            <a:pPr marL="285743" indent="-228594" defTabSz="914378"/>
            <a:r>
              <a:rPr lang="nb-NO" sz="675">
                <a:sym typeface="Arial"/>
              </a:rPr>
              <a:t>Rapportløsning</a:t>
            </a:r>
            <a:endParaRPr lang="nb-NO" sz="675"/>
          </a:p>
        </p:txBody>
      </p:sp>
      <p:grpSp>
        <p:nvGrpSpPr>
          <p:cNvPr id="163" name="Google Shape;111;p14">
            <a:extLst>
              <a:ext uri="{FF2B5EF4-FFF2-40B4-BE49-F238E27FC236}">
                <a16:creationId xmlns:a16="http://schemas.microsoft.com/office/drawing/2014/main" id="{4EB09709-B86C-4AA6-B676-AD03D017E463}"/>
              </a:ext>
            </a:extLst>
          </p:cNvPr>
          <p:cNvGrpSpPr/>
          <p:nvPr/>
        </p:nvGrpSpPr>
        <p:grpSpPr>
          <a:xfrm>
            <a:off x="6019856" y="3782451"/>
            <a:ext cx="193941" cy="190552"/>
            <a:chOff x="6012429" y="3657254"/>
            <a:chExt cx="303983" cy="298670"/>
          </a:xfrm>
        </p:grpSpPr>
        <p:sp>
          <p:nvSpPr>
            <p:cNvPr id="164" name="Google Shape;112;p14">
              <a:extLst>
                <a:ext uri="{FF2B5EF4-FFF2-40B4-BE49-F238E27FC236}">
                  <a16:creationId xmlns:a16="http://schemas.microsoft.com/office/drawing/2014/main" id="{388EDF27-56CA-4A15-9518-E3BFE1FB524E}"/>
                </a:ext>
              </a:extLst>
            </p:cNvPr>
            <p:cNvSpPr/>
            <p:nvPr/>
          </p:nvSpPr>
          <p:spPr>
            <a:xfrm>
              <a:off x="6184861" y="3823700"/>
              <a:ext cx="131552" cy="132224"/>
            </a:xfrm>
            <a:custGeom>
              <a:avLst/>
              <a:gdLst/>
              <a:ahLst/>
              <a:cxnLst/>
              <a:rect l="l" t="t" r="r" b="b"/>
              <a:pathLst>
                <a:path w="428" h="425" extrusionOk="0">
                  <a:moveTo>
                    <a:pt x="259" y="24"/>
                  </a:moveTo>
                  <a:cubicBezTo>
                    <a:pt x="280" y="24"/>
                    <a:pt x="296" y="29"/>
                    <a:pt x="303" y="42"/>
                  </a:cubicBezTo>
                  <a:cubicBezTo>
                    <a:pt x="311" y="58"/>
                    <a:pt x="309" y="63"/>
                    <a:pt x="306" y="66"/>
                  </a:cubicBezTo>
                  <a:lnTo>
                    <a:pt x="296" y="77"/>
                  </a:lnTo>
                  <a:cubicBezTo>
                    <a:pt x="296" y="79"/>
                    <a:pt x="293" y="82"/>
                    <a:pt x="293" y="84"/>
                  </a:cubicBezTo>
                  <a:lnTo>
                    <a:pt x="288" y="129"/>
                  </a:lnTo>
                  <a:cubicBezTo>
                    <a:pt x="285" y="135"/>
                    <a:pt x="288" y="137"/>
                    <a:pt x="293" y="142"/>
                  </a:cubicBezTo>
                  <a:cubicBezTo>
                    <a:pt x="296" y="145"/>
                    <a:pt x="301" y="148"/>
                    <a:pt x="306" y="148"/>
                  </a:cubicBezTo>
                  <a:lnTo>
                    <a:pt x="298" y="185"/>
                  </a:lnTo>
                  <a:cubicBezTo>
                    <a:pt x="288" y="185"/>
                    <a:pt x="282" y="190"/>
                    <a:pt x="282" y="200"/>
                  </a:cubicBezTo>
                  <a:cubicBezTo>
                    <a:pt x="280" y="224"/>
                    <a:pt x="269" y="245"/>
                    <a:pt x="253" y="261"/>
                  </a:cubicBezTo>
                  <a:cubicBezTo>
                    <a:pt x="245" y="264"/>
                    <a:pt x="245" y="272"/>
                    <a:pt x="245" y="277"/>
                  </a:cubicBezTo>
                  <a:lnTo>
                    <a:pt x="253" y="311"/>
                  </a:lnTo>
                  <a:cubicBezTo>
                    <a:pt x="256" y="316"/>
                    <a:pt x="259" y="322"/>
                    <a:pt x="267" y="322"/>
                  </a:cubicBezTo>
                  <a:lnTo>
                    <a:pt x="338" y="340"/>
                  </a:lnTo>
                  <a:cubicBezTo>
                    <a:pt x="364" y="345"/>
                    <a:pt x="385" y="366"/>
                    <a:pt x="390" y="393"/>
                  </a:cubicBezTo>
                  <a:lnTo>
                    <a:pt x="32" y="393"/>
                  </a:lnTo>
                  <a:cubicBezTo>
                    <a:pt x="40" y="366"/>
                    <a:pt x="58" y="345"/>
                    <a:pt x="82" y="332"/>
                  </a:cubicBezTo>
                  <a:lnTo>
                    <a:pt x="153" y="316"/>
                  </a:lnTo>
                  <a:cubicBezTo>
                    <a:pt x="161" y="314"/>
                    <a:pt x="166" y="308"/>
                    <a:pt x="166" y="303"/>
                  </a:cubicBezTo>
                  <a:lnTo>
                    <a:pt x="177" y="269"/>
                  </a:lnTo>
                  <a:cubicBezTo>
                    <a:pt x="180" y="264"/>
                    <a:pt x="177" y="256"/>
                    <a:pt x="174" y="253"/>
                  </a:cubicBezTo>
                  <a:cubicBezTo>
                    <a:pt x="158" y="237"/>
                    <a:pt x="148" y="216"/>
                    <a:pt x="145" y="195"/>
                  </a:cubicBezTo>
                  <a:cubicBezTo>
                    <a:pt x="145" y="185"/>
                    <a:pt x="137" y="177"/>
                    <a:pt x="127" y="177"/>
                  </a:cubicBezTo>
                  <a:lnTo>
                    <a:pt x="124" y="177"/>
                  </a:lnTo>
                  <a:lnTo>
                    <a:pt x="122" y="142"/>
                  </a:lnTo>
                  <a:cubicBezTo>
                    <a:pt x="127" y="142"/>
                    <a:pt x="129" y="137"/>
                    <a:pt x="135" y="135"/>
                  </a:cubicBezTo>
                  <a:cubicBezTo>
                    <a:pt x="137" y="132"/>
                    <a:pt x="137" y="124"/>
                    <a:pt x="137" y="121"/>
                  </a:cubicBezTo>
                  <a:cubicBezTo>
                    <a:pt x="137" y="111"/>
                    <a:pt x="135" y="90"/>
                    <a:pt x="135" y="82"/>
                  </a:cubicBezTo>
                  <a:cubicBezTo>
                    <a:pt x="135" y="63"/>
                    <a:pt x="135" y="40"/>
                    <a:pt x="195" y="40"/>
                  </a:cubicBezTo>
                  <a:cubicBezTo>
                    <a:pt x="201" y="40"/>
                    <a:pt x="203" y="40"/>
                    <a:pt x="206" y="37"/>
                  </a:cubicBezTo>
                  <a:cubicBezTo>
                    <a:pt x="227" y="24"/>
                    <a:pt x="248" y="24"/>
                    <a:pt x="259" y="24"/>
                  </a:cubicBezTo>
                  <a:close/>
                  <a:moveTo>
                    <a:pt x="259" y="0"/>
                  </a:moveTo>
                  <a:cubicBezTo>
                    <a:pt x="245" y="0"/>
                    <a:pt x="216" y="0"/>
                    <a:pt x="190" y="16"/>
                  </a:cubicBezTo>
                  <a:cubicBezTo>
                    <a:pt x="111" y="19"/>
                    <a:pt x="101" y="58"/>
                    <a:pt x="101" y="92"/>
                  </a:cubicBezTo>
                  <a:cubicBezTo>
                    <a:pt x="101" y="98"/>
                    <a:pt x="106" y="111"/>
                    <a:pt x="106" y="121"/>
                  </a:cubicBezTo>
                  <a:cubicBezTo>
                    <a:pt x="101" y="121"/>
                    <a:pt x="98" y="124"/>
                    <a:pt x="95" y="129"/>
                  </a:cubicBezTo>
                  <a:cubicBezTo>
                    <a:pt x="93" y="135"/>
                    <a:pt x="87" y="145"/>
                    <a:pt x="87" y="156"/>
                  </a:cubicBezTo>
                  <a:lnTo>
                    <a:pt x="93" y="187"/>
                  </a:lnTo>
                  <a:cubicBezTo>
                    <a:pt x="95" y="200"/>
                    <a:pt x="101" y="211"/>
                    <a:pt x="114" y="214"/>
                  </a:cubicBezTo>
                  <a:cubicBezTo>
                    <a:pt x="116" y="235"/>
                    <a:pt x="127" y="256"/>
                    <a:pt x="143" y="274"/>
                  </a:cubicBezTo>
                  <a:lnTo>
                    <a:pt x="140" y="290"/>
                  </a:lnTo>
                  <a:lnTo>
                    <a:pt x="77" y="306"/>
                  </a:lnTo>
                  <a:cubicBezTo>
                    <a:pt x="32" y="319"/>
                    <a:pt x="0" y="359"/>
                    <a:pt x="0" y="409"/>
                  </a:cubicBezTo>
                  <a:cubicBezTo>
                    <a:pt x="0" y="414"/>
                    <a:pt x="0" y="422"/>
                    <a:pt x="3" y="422"/>
                  </a:cubicBezTo>
                  <a:cubicBezTo>
                    <a:pt x="6" y="422"/>
                    <a:pt x="11" y="424"/>
                    <a:pt x="16" y="424"/>
                  </a:cubicBezTo>
                  <a:lnTo>
                    <a:pt x="411" y="424"/>
                  </a:lnTo>
                  <a:cubicBezTo>
                    <a:pt x="419" y="424"/>
                    <a:pt x="427" y="419"/>
                    <a:pt x="427" y="409"/>
                  </a:cubicBezTo>
                  <a:cubicBezTo>
                    <a:pt x="427" y="359"/>
                    <a:pt x="393" y="319"/>
                    <a:pt x="348" y="306"/>
                  </a:cubicBezTo>
                  <a:lnTo>
                    <a:pt x="285" y="290"/>
                  </a:lnTo>
                  <a:lnTo>
                    <a:pt x="282" y="277"/>
                  </a:lnTo>
                  <a:cubicBezTo>
                    <a:pt x="298" y="261"/>
                    <a:pt x="311" y="237"/>
                    <a:pt x="314" y="214"/>
                  </a:cubicBezTo>
                  <a:cubicBezTo>
                    <a:pt x="325" y="211"/>
                    <a:pt x="335" y="200"/>
                    <a:pt x="335" y="187"/>
                  </a:cubicBezTo>
                  <a:lnTo>
                    <a:pt x="338" y="156"/>
                  </a:lnTo>
                  <a:cubicBezTo>
                    <a:pt x="340" y="145"/>
                    <a:pt x="338" y="135"/>
                    <a:pt x="332" y="129"/>
                  </a:cubicBezTo>
                  <a:cubicBezTo>
                    <a:pt x="332" y="124"/>
                    <a:pt x="327" y="124"/>
                    <a:pt x="325" y="121"/>
                  </a:cubicBezTo>
                  <a:lnTo>
                    <a:pt x="325" y="98"/>
                  </a:lnTo>
                  <a:lnTo>
                    <a:pt x="327" y="95"/>
                  </a:lnTo>
                  <a:cubicBezTo>
                    <a:pt x="338" y="84"/>
                    <a:pt x="351" y="66"/>
                    <a:pt x="332" y="32"/>
                  </a:cubicBezTo>
                  <a:cubicBezTo>
                    <a:pt x="322" y="16"/>
                    <a:pt x="303" y="0"/>
                    <a:pt x="259" y="0"/>
                  </a:cubicBezTo>
                  <a:close/>
                </a:path>
              </a:pathLst>
            </a:custGeom>
            <a:solidFill>
              <a:srgbClr val="BCCCA8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defTabSz="914378"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65" name="Google Shape;113;p14">
              <a:extLst>
                <a:ext uri="{FF2B5EF4-FFF2-40B4-BE49-F238E27FC236}">
                  <a16:creationId xmlns:a16="http://schemas.microsoft.com/office/drawing/2014/main" id="{C6095F34-84F9-409D-B5C3-55849CA505E1}"/>
                </a:ext>
              </a:extLst>
            </p:cNvPr>
            <p:cNvSpPr/>
            <p:nvPr/>
          </p:nvSpPr>
          <p:spPr>
            <a:xfrm>
              <a:off x="6012429" y="3657254"/>
              <a:ext cx="292611" cy="247648"/>
            </a:xfrm>
            <a:custGeom>
              <a:avLst/>
              <a:gdLst/>
              <a:ahLst/>
              <a:cxnLst/>
              <a:rect l="l" t="t" r="r" b="b"/>
              <a:pathLst>
                <a:path w="952" h="796" extrusionOk="0">
                  <a:moveTo>
                    <a:pt x="100" y="0"/>
                  </a:moveTo>
                  <a:cubicBezTo>
                    <a:pt x="45" y="0"/>
                    <a:pt x="0" y="48"/>
                    <a:pt x="0" y="103"/>
                  </a:cubicBezTo>
                  <a:lnTo>
                    <a:pt x="0" y="693"/>
                  </a:lnTo>
                  <a:cubicBezTo>
                    <a:pt x="0" y="749"/>
                    <a:pt x="42" y="796"/>
                    <a:pt x="100" y="796"/>
                  </a:cubicBezTo>
                  <a:lnTo>
                    <a:pt x="609" y="796"/>
                  </a:lnTo>
                  <a:cubicBezTo>
                    <a:pt x="617" y="796"/>
                    <a:pt x="627" y="788"/>
                    <a:pt x="627" y="780"/>
                  </a:cubicBezTo>
                  <a:cubicBezTo>
                    <a:pt x="627" y="770"/>
                    <a:pt x="619" y="762"/>
                    <a:pt x="609" y="762"/>
                  </a:cubicBezTo>
                  <a:lnTo>
                    <a:pt x="100" y="762"/>
                  </a:lnTo>
                  <a:cubicBezTo>
                    <a:pt x="63" y="762"/>
                    <a:pt x="34" y="730"/>
                    <a:pt x="34" y="693"/>
                  </a:cubicBezTo>
                  <a:lnTo>
                    <a:pt x="34" y="103"/>
                  </a:lnTo>
                  <a:cubicBezTo>
                    <a:pt x="34" y="63"/>
                    <a:pt x="63" y="34"/>
                    <a:pt x="100" y="34"/>
                  </a:cubicBezTo>
                  <a:lnTo>
                    <a:pt x="854" y="34"/>
                  </a:lnTo>
                  <a:cubicBezTo>
                    <a:pt x="891" y="34"/>
                    <a:pt x="920" y="66"/>
                    <a:pt x="920" y="103"/>
                  </a:cubicBezTo>
                  <a:lnTo>
                    <a:pt x="920" y="480"/>
                  </a:lnTo>
                  <a:cubicBezTo>
                    <a:pt x="920" y="488"/>
                    <a:pt x="925" y="496"/>
                    <a:pt x="936" y="496"/>
                  </a:cubicBezTo>
                  <a:cubicBezTo>
                    <a:pt x="946" y="496"/>
                    <a:pt x="951" y="488"/>
                    <a:pt x="951" y="480"/>
                  </a:cubicBezTo>
                  <a:lnTo>
                    <a:pt x="951" y="103"/>
                  </a:lnTo>
                  <a:cubicBezTo>
                    <a:pt x="951" y="48"/>
                    <a:pt x="909" y="0"/>
                    <a:pt x="854" y="0"/>
                  </a:cubicBezTo>
                  <a:close/>
                </a:path>
              </a:pathLst>
            </a:custGeom>
            <a:solidFill>
              <a:srgbClr val="BCCCA8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defTabSz="914378"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66" name="Google Shape;114;p14">
              <a:extLst>
                <a:ext uri="{FF2B5EF4-FFF2-40B4-BE49-F238E27FC236}">
                  <a16:creationId xmlns:a16="http://schemas.microsoft.com/office/drawing/2014/main" id="{57DB4F68-F6A4-4696-BB89-FB7170FF87B0}"/>
                </a:ext>
              </a:extLst>
            </p:cNvPr>
            <p:cNvSpPr/>
            <p:nvPr/>
          </p:nvSpPr>
          <p:spPr>
            <a:xfrm>
              <a:off x="6052694" y="3914546"/>
              <a:ext cx="122024" cy="41378"/>
            </a:xfrm>
            <a:custGeom>
              <a:avLst/>
              <a:gdLst/>
              <a:ahLst/>
              <a:cxnLst/>
              <a:rect l="l" t="t" r="r" b="b"/>
              <a:pathLst>
                <a:path w="397" h="133" extrusionOk="0">
                  <a:moveTo>
                    <a:pt x="133" y="1"/>
                  </a:moveTo>
                  <a:cubicBezTo>
                    <a:pt x="69" y="1"/>
                    <a:pt x="1" y="61"/>
                    <a:pt x="1" y="117"/>
                  </a:cubicBezTo>
                  <a:cubicBezTo>
                    <a:pt x="1" y="127"/>
                    <a:pt x="9" y="132"/>
                    <a:pt x="17" y="132"/>
                  </a:cubicBezTo>
                  <a:lnTo>
                    <a:pt x="346" y="132"/>
                  </a:lnTo>
                  <a:cubicBezTo>
                    <a:pt x="354" y="132"/>
                    <a:pt x="364" y="127"/>
                    <a:pt x="364" y="117"/>
                  </a:cubicBezTo>
                  <a:cubicBezTo>
                    <a:pt x="364" y="106"/>
                    <a:pt x="357" y="101"/>
                    <a:pt x="346" y="101"/>
                  </a:cubicBezTo>
                  <a:lnTo>
                    <a:pt x="38" y="101"/>
                  </a:lnTo>
                  <a:cubicBezTo>
                    <a:pt x="46" y="67"/>
                    <a:pt x="90" y="35"/>
                    <a:pt x="133" y="35"/>
                  </a:cubicBezTo>
                  <a:lnTo>
                    <a:pt x="380" y="35"/>
                  </a:lnTo>
                  <a:cubicBezTo>
                    <a:pt x="391" y="35"/>
                    <a:pt x="396" y="27"/>
                    <a:pt x="396" y="19"/>
                  </a:cubicBezTo>
                  <a:cubicBezTo>
                    <a:pt x="396" y="9"/>
                    <a:pt x="391" y="1"/>
                    <a:pt x="380" y="1"/>
                  </a:cubicBezTo>
                  <a:close/>
                </a:path>
              </a:pathLst>
            </a:custGeom>
            <a:solidFill>
              <a:srgbClr val="BCCCA8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defTabSz="914378"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67" name="Google Shape;115;p14">
              <a:extLst>
                <a:ext uri="{FF2B5EF4-FFF2-40B4-BE49-F238E27FC236}">
                  <a16:creationId xmlns:a16="http://schemas.microsoft.com/office/drawing/2014/main" id="{2A4ACEC1-A6B7-46A7-A07A-72F48216AAF2}"/>
                </a:ext>
              </a:extLst>
            </p:cNvPr>
            <p:cNvSpPr/>
            <p:nvPr/>
          </p:nvSpPr>
          <p:spPr>
            <a:xfrm>
              <a:off x="6012429" y="3852945"/>
              <a:ext cx="182267" cy="11200"/>
            </a:xfrm>
            <a:custGeom>
              <a:avLst/>
              <a:gdLst/>
              <a:ahLst/>
              <a:cxnLst/>
              <a:rect l="l" t="t" r="r" b="b"/>
              <a:pathLst>
                <a:path w="593" h="36" extrusionOk="0">
                  <a:moveTo>
                    <a:pt x="16" y="1"/>
                  </a:moveTo>
                  <a:cubicBezTo>
                    <a:pt x="8" y="1"/>
                    <a:pt x="0" y="9"/>
                    <a:pt x="0" y="19"/>
                  </a:cubicBezTo>
                  <a:cubicBezTo>
                    <a:pt x="0" y="27"/>
                    <a:pt x="8" y="35"/>
                    <a:pt x="16" y="35"/>
                  </a:cubicBezTo>
                  <a:lnTo>
                    <a:pt x="577" y="35"/>
                  </a:lnTo>
                  <a:cubicBezTo>
                    <a:pt x="582" y="35"/>
                    <a:pt x="593" y="27"/>
                    <a:pt x="593" y="19"/>
                  </a:cubicBezTo>
                  <a:cubicBezTo>
                    <a:pt x="593" y="9"/>
                    <a:pt x="588" y="1"/>
                    <a:pt x="577" y="1"/>
                  </a:cubicBezTo>
                  <a:close/>
                </a:path>
              </a:pathLst>
            </a:custGeom>
            <a:solidFill>
              <a:srgbClr val="BCCCA8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defTabSz="914378"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68" name="Google Shape;116;p14">
              <a:extLst>
                <a:ext uri="{FF2B5EF4-FFF2-40B4-BE49-F238E27FC236}">
                  <a16:creationId xmlns:a16="http://schemas.microsoft.com/office/drawing/2014/main" id="{CDC9A844-F351-40ED-9D3E-8EC588334182}"/>
                </a:ext>
              </a:extLst>
            </p:cNvPr>
            <p:cNvSpPr/>
            <p:nvPr/>
          </p:nvSpPr>
          <p:spPr>
            <a:xfrm>
              <a:off x="6252173" y="3865389"/>
              <a:ext cx="10758" cy="10889"/>
            </a:xfrm>
            <a:custGeom>
              <a:avLst/>
              <a:gdLst/>
              <a:ahLst/>
              <a:cxnLst/>
              <a:rect l="l" t="t" r="r" b="b"/>
              <a:pathLst>
                <a:path w="35" h="35" extrusionOk="0">
                  <a:moveTo>
                    <a:pt x="19" y="1"/>
                  </a:moveTo>
                  <a:cubicBezTo>
                    <a:pt x="8" y="1"/>
                    <a:pt x="0" y="8"/>
                    <a:pt x="0" y="16"/>
                  </a:cubicBezTo>
                  <a:cubicBezTo>
                    <a:pt x="0" y="27"/>
                    <a:pt x="8" y="35"/>
                    <a:pt x="19" y="35"/>
                  </a:cubicBezTo>
                  <a:cubicBezTo>
                    <a:pt x="26" y="35"/>
                    <a:pt x="34" y="27"/>
                    <a:pt x="34" y="16"/>
                  </a:cubicBezTo>
                  <a:cubicBezTo>
                    <a:pt x="34" y="8"/>
                    <a:pt x="26" y="1"/>
                    <a:pt x="19" y="1"/>
                  </a:cubicBezTo>
                  <a:close/>
                </a:path>
              </a:pathLst>
            </a:custGeom>
            <a:solidFill>
              <a:srgbClr val="BCCCA8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defTabSz="914378"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69" name="Google Shape;117;p14">
              <a:extLst>
                <a:ext uri="{FF2B5EF4-FFF2-40B4-BE49-F238E27FC236}">
                  <a16:creationId xmlns:a16="http://schemas.microsoft.com/office/drawing/2014/main" id="{2030294E-78B9-4B89-B243-3178859D834C}"/>
                </a:ext>
              </a:extLst>
            </p:cNvPr>
            <p:cNvSpPr/>
            <p:nvPr/>
          </p:nvSpPr>
          <p:spPr>
            <a:xfrm>
              <a:off x="6133838" y="3894012"/>
              <a:ext cx="10758" cy="31423"/>
            </a:xfrm>
            <a:custGeom>
              <a:avLst/>
              <a:gdLst/>
              <a:ahLst/>
              <a:cxnLst/>
              <a:rect l="l" t="t" r="r" b="b"/>
              <a:pathLst>
                <a:path w="35" h="101" extrusionOk="0">
                  <a:moveTo>
                    <a:pt x="16" y="1"/>
                  </a:moveTo>
                  <a:cubicBezTo>
                    <a:pt x="8" y="1"/>
                    <a:pt x="0" y="9"/>
                    <a:pt x="0" y="19"/>
                  </a:cubicBezTo>
                  <a:lnTo>
                    <a:pt x="0" y="85"/>
                  </a:lnTo>
                  <a:cubicBezTo>
                    <a:pt x="0" y="93"/>
                    <a:pt x="8" y="101"/>
                    <a:pt x="16" y="101"/>
                  </a:cubicBezTo>
                  <a:cubicBezTo>
                    <a:pt x="24" y="101"/>
                    <a:pt x="35" y="93"/>
                    <a:pt x="35" y="85"/>
                  </a:cubicBezTo>
                  <a:lnTo>
                    <a:pt x="35" y="19"/>
                  </a:lnTo>
                  <a:cubicBezTo>
                    <a:pt x="35" y="9"/>
                    <a:pt x="27" y="1"/>
                    <a:pt x="16" y="1"/>
                  </a:cubicBezTo>
                  <a:close/>
                </a:path>
              </a:pathLst>
            </a:custGeom>
            <a:solidFill>
              <a:srgbClr val="BCCCA8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defTabSz="914378"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70" name="Google Shape;118;p14">
              <a:extLst>
                <a:ext uri="{FF2B5EF4-FFF2-40B4-BE49-F238E27FC236}">
                  <a16:creationId xmlns:a16="http://schemas.microsoft.com/office/drawing/2014/main" id="{EFC17812-6FFC-4208-BB45-AC054DD15656}"/>
                </a:ext>
              </a:extLst>
            </p:cNvPr>
            <p:cNvSpPr/>
            <p:nvPr/>
          </p:nvSpPr>
          <p:spPr>
            <a:xfrm>
              <a:off x="6174410" y="3894012"/>
              <a:ext cx="10758" cy="20845"/>
            </a:xfrm>
            <a:custGeom>
              <a:avLst/>
              <a:gdLst/>
              <a:ahLst/>
              <a:cxnLst/>
              <a:rect l="l" t="t" r="r" b="b"/>
              <a:pathLst>
                <a:path w="35" h="67" extrusionOk="0">
                  <a:moveTo>
                    <a:pt x="16" y="1"/>
                  </a:moveTo>
                  <a:cubicBezTo>
                    <a:pt x="8" y="1"/>
                    <a:pt x="0" y="9"/>
                    <a:pt x="0" y="19"/>
                  </a:cubicBezTo>
                  <a:lnTo>
                    <a:pt x="0" y="51"/>
                  </a:lnTo>
                  <a:cubicBezTo>
                    <a:pt x="0" y="61"/>
                    <a:pt x="8" y="67"/>
                    <a:pt x="16" y="67"/>
                  </a:cubicBezTo>
                  <a:cubicBezTo>
                    <a:pt x="24" y="67"/>
                    <a:pt x="34" y="61"/>
                    <a:pt x="34" y="51"/>
                  </a:cubicBezTo>
                  <a:lnTo>
                    <a:pt x="34" y="19"/>
                  </a:lnTo>
                  <a:cubicBezTo>
                    <a:pt x="34" y="9"/>
                    <a:pt x="26" y="1"/>
                    <a:pt x="16" y="1"/>
                  </a:cubicBezTo>
                  <a:close/>
                </a:path>
              </a:pathLst>
            </a:custGeom>
            <a:solidFill>
              <a:srgbClr val="BCCCA8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defTabSz="914378">
                <a:buClr>
                  <a:srgbClr val="000000"/>
                </a:buClr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</p:grpSp>
      <p:sp>
        <p:nvSpPr>
          <p:cNvPr id="171" name="Google Shape;119;p14">
            <a:extLst>
              <a:ext uri="{FF2B5EF4-FFF2-40B4-BE49-F238E27FC236}">
                <a16:creationId xmlns:a16="http://schemas.microsoft.com/office/drawing/2014/main" id="{1455986A-4684-42CB-B9E0-9278B5C62478}"/>
              </a:ext>
            </a:extLst>
          </p:cNvPr>
          <p:cNvSpPr txBox="1"/>
          <p:nvPr/>
        </p:nvSpPr>
        <p:spPr>
          <a:xfrm>
            <a:off x="2688025" y="3922350"/>
            <a:ext cx="3140565" cy="627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>
              <a:defRPr lang="nb-NO"/>
            </a:defPPr>
            <a:lvl1pPr marL="380990" indent="-304792" defTabSz="1219170">
              <a:buClr>
                <a:srgbClr val="32756D"/>
              </a:buClr>
              <a:buSzPts val="900"/>
              <a:buFont typeface="Arial"/>
              <a:buChar char="●"/>
              <a:defRPr sz="900" kern="0">
                <a:solidFill>
                  <a:srgbClr val="000000"/>
                </a:solidFill>
                <a:latin typeface="Arial"/>
                <a:cs typeface="Arial"/>
              </a:defRPr>
            </a:lvl1pPr>
          </a:lstStyle>
          <a:p>
            <a:pPr marL="285743" indent="-228594" defTabSz="914378"/>
            <a:r>
              <a:rPr lang="nb-NO" sz="675" dirty="0">
                <a:sym typeface="Arial"/>
              </a:rPr>
              <a:t>Faglig ressurs som kjenner den enkelte arbeidsgruppes (f.eks. forskningsgruppe) virksomhet og behov ​</a:t>
            </a:r>
          </a:p>
          <a:p>
            <a:pPr marL="285743" indent="-228594" defTabSz="914378"/>
            <a:r>
              <a:rPr lang="nb-NO" sz="675" dirty="0">
                <a:sym typeface="Arial"/>
              </a:rPr>
              <a:t>Skal kunne dekke flere enheter innenfor ett fag</a:t>
            </a:r>
          </a:p>
          <a:p>
            <a:pPr marL="285743" indent="-228594" defTabSz="914378"/>
            <a:r>
              <a:rPr lang="nb-NO" sz="675" dirty="0">
                <a:sym typeface="Arial"/>
              </a:rPr>
              <a:t>Kan ikke kombineres med rollene innkjøper eller </a:t>
            </a:r>
            <a:r>
              <a:rPr lang="nb-NO" sz="675" dirty="0" err="1">
                <a:sym typeface="Arial"/>
              </a:rPr>
              <a:t>kostnadsgodkjenner</a:t>
            </a:r>
            <a:r>
              <a:rPr lang="nb-NO" sz="675" dirty="0">
                <a:sym typeface="Arial"/>
              </a:rPr>
              <a:t>, eller med </a:t>
            </a:r>
            <a:r>
              <a:rPr lang="nb-NO" sz="675" dirty="0" err="1">
                <a:sym typeface="Arial"/>
              </a:rPr>
              <a:t>btb</a:t>
            </a:r>
            <a:r>
              <a:rPr lang="nb-NO" sz="675" dirty="0">
                <a:sym typeface="Arial"/>
              </a:rPr>
              <a:t>-roller i fellesadministrativ økonomifunksjon</a:t>
            </a:r>
          </a:p>
        </p:txBody>
      </p:sp>
      <p:sp>
        <p:nvSpPr>
          <p:cNvPr id="172" name="Google Shape;120;p14">
            <a:extLst>
              <a:ext uri="{FF2B5EF4-FFF2-40B4-BE49-F238E27FC236}">
                <a16:creationId xmlns:a16="http://schemas.microsoft.com/office/drawing/2014/main" id="{723CF0B5-AC5F-41F0-BF28-4D5A28ED4D07}"/>
              </a:ext>
            </a:extLst>
          </p:cNvPr>
          <p:cNvSpPr txBox="1"/>
          <p:nvPr/>
        </p:nvSpPr>
        <p:spPr>
          <a:xfrm>
            <a:off x="3118807" y="3739650"/>
            <a:ext cx="1630800" cy="25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>
              <a:defRPr lang="nb-NO"/>
            </a:defPPr>
            <a:lvl1pPr defTabSz="1219170">
              <a:buClr>
                <a:srgbClr val="000000"/>
              </a:buClr>
              <a:defRPr b="1" kern="0">
                <a:solidFill>
                  <a:srgbClr val="32756D"/>
                </a:solidFill>
                <a:latin typeface="Arial"/>
                <a:cs typeface="Arial"/>
              </a:defRPr>
            </a:lvl1pPr>
          </a:lstStyle>
          <a:p>
            <a:pPr defTabSz="914378"/>
            <a:r>
              <a:rPr lang="en" sz="1350">
                <a:sym typeface="Arial"/>
              </a:rPr>
              <a:t>Anbefaling</a:t>
            </a:r>
            <a:endParaRPr sz="1350">
              <a:sym typeface="Arial"/>
            </a:endParaRPr>
          </a:p>
        </p:txBody>
      </p:sp>
      <p:pic>
        <p:nvPicPr>
          <p:cNvPr id="66" name="Picture 65">
            <a:extLst>
              <a:ext uri="{FF2B5EF4-FFF2-40B4-BE49-F238E27FC236}">
                <a16:creationId xmlns:a16="http://schemas.microsoft.com/office/drawing/2014/main" id="{49BED6CC-6D13-44EF-ACB0-EE7F9B2BC84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5016" y="223931"/>
            <a:ext cx="454834" cy="48240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D071FCA0-7784-4A3E-B895-ADE9C1334D55}"/>
              </a:ext>
            </a:extLst>
          </p:cNvPr>
          <p:cNvSpPr txBox="1"/>
          <p:nvPr/>
        </p:nvSpPr>
        <p:spPr>
          <a:xfrm>
            <a:off x="6340007" y="87047"/>
            <a:ext cx="34076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 dirty="0">
                <a:hlinkClick r:id="rId7"/>
              </a:rPr>
              <a:t>Lenke til rollebeskrivelse - Fagrekvirent</a:t>
            </a:r>
            <a:endParaRPr lang="nb-NO" sz="1100" dirty="0"/>
          </a:p>
        </p:txBody>
      </p:sp>
    </p:spTree>
    <p:extLst>
      <p:ext uri="{BB962C8B-B14F-4D97-AF65-F5344CB8AC3E}">
        <p14:creationId xmlns:p14="http://schemas.microsoft.com/office/powerpoint/2010/main" val="407429825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BF5E5A0-C4E0-49B9-884C-8FC14DBC23F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19009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BF5E5A0-C4E0-49B9-884C-8FC14DBC23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Oval 28">
            <a:extLst>
              <a:ext uri="{FF2B5EF4-FFF2-40B4-BE49-F238E27FC236}">
                <a16:creationId xmlns:a16="http://schemas.microsoft.com/office/drawing/2014/main" id="{BD7DB8DD-5B0A-4595-88A2-1E27703AED63}"/>
              </a:ext>
            </a:extLst>
          </p:cNvPr>
          <p:cNvSpPr/>
          <p:nvPr/>
        </p:nvSpPr>
        <p:spPr>
          <a:xfrm>
            <a:off x="3484904" y="1574910"/>
            <a:ext cx="2001971" cy="199367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F296D3C-4715-4969-A338-ACAF84AA6B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573" y="205979"/>
            <a:ext cx="8381997" cy="523220"/>
          </a:xfrm>
        </p:spPr>
        <p:txBody>
          <a:bodyPr vert="horz"/>
          <a:lstStyle/>
          <a:p>
            <a:r>
              <a:rPr lang="nb-NO" sz="2800" dirty="0"/>
              <a:t>Fagrekvirent – samhandling med andre</a:t>
            </a:r>
          </a:p>
        </p:txBody>
      </p:sp>
      <p:pic>
        <p:nvPicPr>
          <p:cNvPr id="11" name="Picture 5">
            <a:extLst>
              <a:ext uri="{FF2B5EF4-FFF2-40B4-BE49-F238E27FC236}">
                <a16:creationId xmlns:a16="http://schemas.microsoft.com/office/drawing/2014/main" id="{CFC61A2A-EA0B-4C80-B00E-4D1BE6515DD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3803" y="1171560"/>
            <a:ext cx="606445" cy="643200"/>
          </a:xfrm>
          <a:prstGeom prst="rect">
            <a:avLst/>
          </a:prstGeom>
        </p:spPr>
      </p:pic>
      <p:sp>
        <p:nvSpPr>
          <p:cNvPr id="12" name="Arrow: Left-Right 19">
            <a:extLst>
              <a:ext uri="{FF2B5EF4-FFF2-40B4-BE49-F238E27FC236}">
                <a16:creationId xmlns:a16="http://schemas.microsoft.com/office/drawing/2014/main" id="{E7BC70BF-AAC8-40CF-AAC9-CF32AB554491}"/>
              </a:ext>
            </a:extLst>
          </p:cNvPr>
          <p:cNvSpPr/>
          <p:nvPr/>
        </p:nvSpPr>
        <p:spPr>
          <a:xfrm rot="1639081">
            <a:off x="2823437" y="1819070"/>
            <a:ext cx="626400" cy="197077"/>
          </a:xfrm>
          <a:prstGeom prst="leftRightArrow">
            <a:avLst/>
          </a:prstGeom>
          <a:solidFill>
            <a:srgbClr val="0D3475"/>
          </a:solidFill>
          <a:ln>
            <a:solidFill>
              <a:srgbClr val="0D347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extBox 26">
            <a:extLst>
              <a:ext uri="{FF2B5EF4-FFF2-40B4-BE49-F238E27FC236}">
                <a16:creationId xmlns:a16="http://schemas.microsoft.com/office/drawing/2014/main" id="{DD098582-49C2-4E15-8691-11671765309E}"/>
              </a:ext>
            </a:extLst>
          </p:cNvPr>
          <p:cNvSpPr txBox="1"/>
          <p:nvPr/>
        </p:nvSpPr>
        <p:spPr>
          <a:xfrm>
            <a:off x="413802" y="1861523"/>
            <a:ext cx="235975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arenR"/>
              <a:tabLst/>
              <a:defRPr/>
            </a:pPr>
            <a:r>
              <a:rPr kumimoji="0" lang="nb-NO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ttar behovsinnmelding fra behovshaver, og finner riktig vare/tjeneste som skal dekke behovet</a:t>
            </a:r>
            <a:endParaRPr lang="nb-NO" sz="1200" dirty="0">
              <a:solidFill>
                <a:prstClr val="black"/>
              </a:solidFill>
              <a:latin typeface="Calibri" panose="020F0502020204030204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arenR"/>
              <a:tabLst/>
              <a:defRPr/>
            </a:pPr>
            <a:r>
              <a:rPr kumimoji="0" lang="nb-NO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ttar</a:t>
            </a:r>
            <a:r>
              <a:rPr kumimoji="0" lang="nb-NO" sz="12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beskjed om mottatt vare og registrere vare/tjeneste</a:t>
            </a:r>
            <a:endParaRPr kumimoji="0" lang="nb-NO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Arrow: Left-Right 35">
            <a:extLst>
              <a:ext uri="{FF2B5EF4-FFF2-40B4-BE49-F238E27FC236}">
                <a16:creationId xmlns:a16="http://schemas.microsoft.com/office/drawing/2014/main" id="{C84C5481-5708-4DCE-B521-8214996D9090}"/>
              </a:ext>
            </a:extLst>
          </p:cNvPr>
          <p:cNvSpPr/>
          <p:nvPr/>
        </p:nvSpPr>
        <p:spPr>
          <a:xfrm rot="19654738">
            <a:off x="5652101" y="1768772"/>
            <a:ext cx="622800" cy="197077"/>
          </a:xfrm>
          <a:prstGeom prst="leftRightArrow">
            <a:avLst/>
          </a:prstGeom>
          <a:solidFill>
            <a:srgbClr val="0D3475"/>
          </a:solidFill>
          <a:ln>
            <a:solidFill>
              <a:srgbClr val="0D347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Google Shape;80;p14">
            <a:extLst>
              <a:ext uri="{FF2B5EF4-FFF2-40B4-BE49-F238E27FC236}">
                <a16:creationId xmlns:a16="http://schemas.microsoft.com/office/drawing/2014/main" id="{61016D6F-5DF9-41FB-803A-8C38C8025A18}"/>
              </a:ext>
            </a:extLst>
          </p:cNvPr>
          <p:cNvSpPr txBox="1">
            <a:spLocks/>
          </p:cNvSpPr>
          <p:nvPr/>
        </p:nvSpPr>
        <p:spPr>
          <a:xfrm>
            <a:off x="7086856" y="2981639"/>
            <a:ext cx="1845992" cy="6415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tabLst/>
              <a:defRPr/>
            </a:pPr>
            <a:r>
              <a:rPr kumimoji="0" lang="nb-NO" sz="1400" b="1" i="0" u="none" strike="noStrike" kern="0" cap="none" spc="0" normalizeH="0" baseline="0" noProof="0" dirty="0">
                <a:ln>
                  <a:noFill/>
                </a:ln>
                <a:solidFill>
                  <a:srgbClr val="0D3475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Innkjøper</a:t>
            </a:r>
          </a:p>
        </p:txBody>
      </p:sp>
      <p:pic>
        <p:nvPicPr>
          <p:cNvPr id="16" name="Picture 7">
            <a:extLst>
              <a:ext uri="{FF2B5EF4-FFF2-40B4-BE49-F238E27FC236}">
                <a16:creationId xmlns:a16="http://schemas.microsoft.com/office/drawing/2014/main" id="{30D7000C-EA8A-4186-B83A-65901090706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788698" y="1791397"/>
            <a:ext cx="1369607" cy="1452615"/>
          </a:xfrm>
          <a:prstGeom prst="rect">
            <a:avLst/>
          </a:prstGeom>
        </p:spPr>
      </p:pic>
      <p:sp>
        <p:nvSpPr>
          <p:cNvPr id="17" name="TextBox 36">
            <a:extLst>
              <a:ext uri="{FF2B5EF4-FFF2-40B4-BE49-F238E27FC236}">
                <a16:creationId xmlns:a16="http://schemas.microsoft.com/office/drawing/2014/main" id="{41A9CC27-89F1-4BBD-B37C-C2F10788D75C}"/>
              </a:ext>
            </a:extLst>
          </p:cNvPr>
          <p:cNvSpPr txBox="1"/>
          <p:nvPr/>
        </p:nvSpPr>
        <p:spPr>
          <a:xfrm>
            <a:off x="6509962" y="3682738"/>
            <a:ext cx="21986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nder innkjøpsforespørsel til Innkjøper for kontroll og fullføring</a:t>
            </a:r>
          </a:p>
        </p:txBody>
      </p:sp>
      <p:sp>
        <p:nvSpPr>
          <p:cNvPr id="18" name="Google Shape;80;p14">
            <a:extLst>
              <a:ext uri="{FF2B5EF4-FFF2-40B4-BE49-F238E27FC236}">
                <a16:creationId xmlns:a16="http://schemas.microsoft.com/office/drawing/2014/main" id="{D7110E0E-112C-47EC-AB64-AE254194602E}"/>
              </a:ext>
            </a:extLst>
          </p:cNvPr>
          <p:cNvSpPr txBox="1">
            <a:spLocks/>
          </p:cNvSpPr>
          <p:nvPr/>
        </p:nvSpPr>
        <p:spPr>
          <a:xfrm>
            <a:off x="6903019" y="1120573"/>
            <a:ext cx="2213666" cy="5348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tabLst/>
              <a:defRPr/>
            </a:pPr>
            <a:r>
              <a:rPr kumimoji="0" lang="nb-NO" sz="1400" b="1" i="0" u="none" strike="noStrike" kern="0" cap="none" spc="0" normalizeH="0" baseline="0" noProof="0" dirty="0">
                <a:ln>
                  <a:noFill/>
                </a:ln>
                <a:solidFill>
                  <a:srgbClr val="0D3475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Anskaffelses-</a:t>
            </a:r>
            <a:br>
              <a:rPr kumimoji="0" lang="nb-NO" sz="1400" b="1" i="0" u="none" strike="noStrike" kern="0" cap="none" spc="0" normalizeH="0" baseline="0" noProof="0" dirty="0">
                <a:ln>
                  <a:noFill/>
                </a:ln>
                <a:solidFill>
                  <a:srgbClr val="0D3475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</a:br>
            <a:r>
              <a:rPr kumimoji="0" lang="nb-NO" sz="1400" b="1" i="0" u="none" strike="noStrike" kern="0" cap="none" spc="0" normalizeH="0" baseline="0" noProof="0" dirty="0">
                <a:ln>
                  <a:noFill/>
                </a:ln>
                <a:solidFill>
                  <a:srgbClr val="0D3475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rådgiver</a:t>
            </a:r>
          </a:p>
        </p:txBody>
      </p:sp>
      <p:pic>
        <p:nvPicPr>
          <p:cNvPr id="19" name="Picture 13">
            <a:extLst>
              <a:ext uri="{FF2B5EF4-FFF2-40B4-BE49-F238E27FC236}">
                <a16:creationId xmlns:a16="http://schemas.microsoft.com/office/drawing/2014/main" id="{B62340E8-87EE-497A-B6D4-7C124BC08A2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333869" y="1087211"/>
            <a:ext cx="606445" cy="643200"/>
          </a:xfrm>
          <a:prstGeom prst="rect">
            <a:avLst/>
          </a:prstGeom>
        </p:spPr>
      </p:pic>
      <p:sp>
        <p:nvSpPr>
          <p:cNvPr id="20" name="Arrow: Left-Right 41">
            <a:extLst>
              <a:ext uri="{FF2B5EF4-FFF2-40B4-BE49-F238E27FC236}">
                <a16:creationId xmlns:a16="http://schemas.microsoft.com/office/drawing/2014/main" id="{3F132383-84E6-4C9E-9D0C-33A68683F363}"/>
              </a:ext>
            </a:extLst>
          </p:cNvPr>
          <p:cNvSpPr/>
          <p:nvPr/>
        </p:nvSpPr>
        <p:spPr>
          <a:xfrm rot="1685848">
            <a:off x="5697751" y="3007064"/>
            <a:ext cx="626634" cy="197077"/>
          </a:xfrm>
          <a:prstGeom prst="leftRightArrow">
            <a:avLst/>
          </a:prstGeom>
          <a:solidFill>
            <a:srgbClr val="0D3475"/>
          </a:solidFill>
          <a:ln>
            <a:solidFill>
              <a:srgbClr val="0D347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TextBox 33">
            <a:extLst>
              <a:ext uri="{FF2B5EF4-FFF2-40B4-BE49-F238E27FC236}">
                <a16:creationId xmlns:a16="http://schemas.microsoft.com/office/drawing/2014/main" id="{28C01FB7-4E4E-4895-A806-188CA3CC44F8}"/>
              </a:ext>
            </a:extLst>
          </p:cNvPr>
          <p:cNvSpPr txBox="1"/>
          <p:nvPr/>
        </p:nvSpPr>
        <p:spPr>
          <a:xfrm>
            <a:off x="6331882" y="1834709"/>
            <a:ext cx="209045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midler innkjøpsbehov lik/over kr. 100.000 eks </a:t>
            </a:r>
            <a:r>
              <a:rPr kumimoji="0" lang="nb-NO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va</a:t>
            </a:r>
            <a:r>
              <a:rPr kumimoji="0" lang="nb-NO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er det ikke foreligger avtale</a:t>
            </a:r>
          </a:p>
        </p:txBody>
      </p:sp>
      <p:pic>
        <p:nvPicPr>
          <p:cNvPr id="22" name="Picture 9">
            <a:extLst>
              <a:ext uri="{FF2B5EF4-FFF2-40B4-BE49-F238E27FC236}">
                <a16:creationId xmlns:a16="http://schemas.microsoft.com/office/drawing/2014/main" id="{7730F557-D082-4E65-B0D2-C45389DA266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477457" y="2932109"/>
            <a:ext cx="609399" cy="646331"/>
          </a:xfrm>
          <a:prstGeom prst="rect">
            <a:avLst/>
          </a:prstGeom>
        </p:spPr>
      </p:pic>
      <p:sp>
        <p:nvSpPr>
          <p:cNvPr id="23" name="Google Shape;80;p14">
            <a:extLst>
              <a:ext uri="{FF2B5EF4-FFF2-40B4-BE49-F238E27FC236}">
                <a16:creationId xmlns:a16="http://schemas.microsoft.com/office/drawing/2014/main" id="{E46ECD75-5156-4E95-9280-0CB11C3B375B}"/>
              </a:ext>
            </a:extLst>
          </p:cNvPr>
          <p:cNvSpPr txBox="1">
            <a:spLocks/>
          </p:cNvSpPr>
          <p:nvPr/>
        </p:nvSpPr>
        <p:spPr>
          <a:xfrm>
            <a:off x="3545432" y="3568589"/>
            <a:ext cx="2425990" cy="6431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tabLst/>
              <a:defRPr/>
            </a:pPr>
            <a:r>
              <a:rPr kumimoji="0" lang="nb-NO" sz="2400" b="1" i="0" u="none" strike="noStrike" kern="0" cap="none" spc="0" normalizeH="0" baseline="0" noProof="0" dirty="0">
                <a:ln>
                  <a:noFill/>
                </a:ln>
                <a:solidFill>
                  <a:srgbClr val="0D3475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Fagrekvirent</a:t>
            </a:r>
          </a:p>
        </p:txBody>
      </p:sp>
      <p:sp>
        <p:nvSpPr>
          <p:cNvPr id="24" name="Google Shape;80;p14">
            <a:extLst>
              <a:ext uri="{FF2B5EF4-FFF2-40B4-BE49-F238E27FC236}">
                <a16:creationId xmlns:a16="http://schemas.microsoft.com/office/drawing/2014/main" id="{1116E58E-2D2D-4554-ABDD-8B1CAF04EAEE}"/>
              </a:ext>
            </a:extLst>
          </p:cNvPr>
          <p:cNvSpPr txBox="1">
            <a:spLocks/>
          </p:cNvSpPr>
          <p:nvPr/>
        </p:nvSpPr>
        <p:spPr>
          <a:xfrm>
            <a:off x="867222" y="3409075"/>
            <a:ext cx="2108684" cy="6415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tabLst/>
              <a:defRPr/>
            </a:pPr>
            <a:r>
              <a:rPr kumimoji="0" lang="nb-NO" sz="1400" b="1" i="0" u="none" strike="noStrike" kern="0" cap="none" spc="0" normalizeH="0" baseline="0" noProof="0" dirty="0" err="1">
                <a:ln>
                  <a:noFill/>
                </a:ln>
                <a:solidFill>
                  <a:srgbClr val="0D3475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Varemottaker</a:t>
            </a:r>
            <a:endParaRPr kumimoji="0" lang="nb-NO" sz="1400" b="1" i="0" u="none" strike="noStrike" kern="0" cap="none" spc="0" normalizeH="0" baseline="0" noProof="0" dirty="0">
              <a:ln>
                <a:noFill/>
              </a:ln>
              <a:solidFill>
                <a:srgbClr val="0D3475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25" name="TextBox 40">
            <a:extLst>
              <a:ext uri="{FF2B5EF4-FFF2-40B4-BE49-F238E27FC236}">
                <a16:creationId xmlns:a16="http://schemas.microsoft.com/office/drawing/2014/main" id="{FF88283C-A39C-4696-85A9-E36763C05BBE}"/>
              </a:ext>
            </a:extLst>
          </p:cNvPr>
          <p:cNvSpPr txBox="1"/>
          <p:nvPr/>
        </p:nvSpPr>
        <p:spPr>
          <a:xfrm>
            <a:off x="344408" y="4128332"/>
            <a:ext cx="245022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200" dirty="0">
                <a:solidFill>
                  <a:prstClr val="black"/>
                </a:solidFill>
                <a:latin typeface="Calibri" panose="020F0502020204030204"/>
              </a:rPr>
              <a:t>Følge opp evt. innmeldt avvik fra </a:t>
            </a:r>
            <a:r>
              <a:rPr lang="nb-NO" sz="1200" dirty="0" err="1">
                <a:solidFill>
                  <a:prstClr val="black"/>
                </a:solidFill>
                <a:latin typeface="Calibri" panose="020F0502020204030204"/>
              </a:rPr>
              <a:t>varemottaker</a:t>
            </a:r>
            <a:r>
              <a:rPr lang="nb-NO" sz="1200" dirty="0">
                <a:solidFill>
                  <a:prstClr val="black"/>
                </a:solidFill>
                <a:latin typeface="Calibri" panose="020F0502020204030204"/>
              </a:rPr>
              <a:t> </a:t>
            </a:r>
            <a:endParaRPr kumimoji="0" lang="nb-NO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Arrow: Left-Right 42">
            <a:extLst>
              <a:ext uri="{FF2B5EF4-FFF2-40B4-BE49-F238E27FC236}">
                <a16:creationId xmlns:a16="http://schemas.microsoft.com/office/drawing/2014/main" id="{EDE5A010-8260-44C9-A8B8-70213948D668}"/>
              </a:ext>
            </a:extLst>
          </p:cNvPr>
          <p:cNvSpPr/>
          <p:nvPr/>
        </p:nvSpPr>
        <p:spPr>
          <a:xfrm rot="8965434">
            <a:off x="2734499" y="3087634"/>
            <a:ext cx="626400" cy="197077"/>
          </a:xfrm>
          <a:prstGeom prst="leftRightArrow">
            <a:avLst/>
          </a:prstGeom>
          <a:solidFill>
            <a:srgbClr val="0D3475"/>
          </a:solidFill>
          <a:ln>
            <a:solidFill>
              <a:srgbClr val="0D347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Google Shape;80;p14">
            <a:extLst>
              <a:ext uri="{FF2B5EF4-FFF2-40B4-BE49-F238E27FC236}">
                <a16:creationId xmlns:a16="http://schemas.microsoft.com/office/drawing/2014/main" id="{F682CBBB-A9E1-4BF7-A297-6FCB6A6E012C}"/>
              </a:ext>
            </a:extLst>
          </p:cNvPr>
          <p:cNvSpPr txBox="1">
            <a:spLocks/>
          </p:cNvSpPr>
          <p:nvPr/>
        </p:nvSpPr>
        <p:spPr>
          <a:xfrm>
            <a:off x="1020248" y="1320782"/>
            <a:ext cx="1713853" cy="6415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tabLst/>
              <a:defRPr/>
            </a:pPr>
            <a:r>
              <a:rPr kumimoji="0" lang="nb-NO" sz="1400" b="1" i="0" u="none" strike="noStrike" kern="0" cap="none" spc="0" normalizeH="0" baseline="0" noProof="0" dirty="0">
                <a:ln>
                  <a:noFill/>
                </a:ln>
                <a:solidFill>
                  <a:srgbClr val="0D3475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Behovshaver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tabLst/>
              <a:defRPr/>
            </a:pPr>
            <a:endParaRPr kumimoji="0" lang="nb-NO" sz="1400" b="1" i="0" u="none" strike="noStrike" kern="0" cap="none" spc="0" normalizeH="0" baseline="0" noProof="0" dirty="0">
              <a:ln>
                <a:noFill/>
              </a:ln>
              <a:solidFill>
                <a:srgbClr val="32756D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pic>
        <p:nvPicPr>
          <p:cNvPr id="28" name="Picture 27" descr="A close up of a logo&#10;&#10;Description automatically generated">
            <a:extLst>
              <a:ext uri="{FF2B5EF4-FFF2-40B4-BE49-F238E27FC236}">
                <a16:creationId xmlns:a16="http://schemas.microsoft.com/office/drawing/2014/main" id="{677CD6D3-1A8C-441A-AE43-5D8C4D993B1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408" y="3281977"/>
            <a:ext cx="607577" cy="64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09518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/>
      <p:bldP spid="14" grpId="0" animBg="1"/>
      <p:bldP spid="15" grpId="0"/>
      <p:bldP spid="17" grpId="0"/>
      <p:bldP spid="18" grpId="0"/>
      <p:bldP spid="20" grpId="0" animBg="1"/>
      <p:bldP spid="21" grpId="0"/>
      <p:bldP spid="24" grpId="0"/>
      <p:bldP spid="25" grpId="0"/>
      <p:bldP spid="26" grpId="0" animBg="1"/>
      <p:bldP spid="27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D70F9FB-5F20-441C-8897-867FBE816DF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46959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D70F9FB-5F20-441C-8897-867FBE816D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6378539-3F38-4D32-842A-D187FA5FB7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573" y="205979"/>
            <a:ext cx="8381997" cy="461665"/>
          </a:xfrm>
        </p:spPr>
        <p:txBody>
          <a:bodyPr vert="horz"/>
          <a:lstStyle/>
          <a:p>
            <a:r>
              <a:rPr lang="nb-NO" sz="2400" dirty="0"/>
              <a:t>Behovsinnmelding via Fagrevirent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252D9ED-9F28-492E-86D7-7E4CE6F54C73}"/>
              </a:ext>
            </a:extLst>
          </p:cNvPr>
          <p:cNvGrpSpPr/>
          <p:nvPr/>
        </p:nvGrpSpPr>
        <p:grpSpPr>
          <a:xfrm>
            <a:off x="5877357" y="1877158"/>
            <a:ext cx="1080259" cy="1140599"/>
            <a:chOff x="3467100" y="1822704"/>
            <a:chExt cx="1417447" cy="1481455"/>
          </a:xfrm>
        </p:grpSpPr>
        <p:sp>
          <p:nvSpPr>
            <p:cNvPr id="93" name="object 17">
              <a:extLst>
                <a:ext uri="{FF2B5EF4-FFF2-40B4-BE49-F238E27FC236}">
                  <a16:creationId xmlns:a16="http://schemas.microsoft.com/office/drawing/2014/main" id="{4606D1BC-8B67-402C-808E-F84CC1E8C88F}"/>
                </a:ext>
              </a:extLst>
            </p:cNvPr>
            <p:cNvSpPr/>
            <p:nvPr/>
          </p:nvSpPr>
          <p:spPr>
            <a:xfrm>
              <a:off x="3550284" y="1898904"/>
              <a:ext cx="1259840" cy="1405255"/>
            </a:xfrm>
            <a:custGeom>
              <a:avLst/>
              <a:gdLst/>
              <a:ahLst/>
              <a:cxnLst/>
              <a:rect l="l" t="t" r="r" b="b"/>
              <a:pathLst>
                <a:path w="1259839" h="1405254">
                  <a:moveTo>
                    <a:pt x="556132" y="0"/>
                  </a:moveTo>
                  <a:lnTo>
                    <a:pt x="604293" y="1620"/>
                  </a:lnTo>
                  <a:lnTo>
                    <a:pt x="651582" y="6414"/>
                  </a:lnTo>
                  <a:lnTo>
                    <a:pt x="697894" y="14274"/>
                  </a:lnTo>
                  <a:lnTo>
                    <a:pt x="743124" y="25098"/>
                  </a:lnTo>
                  <a:lnTo>
                    <a:pt x="787169" y="38780"/>
                  </a:lnTo>
                  <a:lnTo>
                    <a:pt x="829923" y="55215"/>
                  </a:lnTo>
                  <a:lnTo>
                    <a:pt x="871281" y="74299"/>
                  </a:lnTo>
                  <a:lnTo>
                    <a:pt x="911140" y="95927"/>
                  </a:lnTo>
                  <a:lnTo>
                    <a:pt x="949394" y="119994"/>
                  </a:lnTo>
                  <a:lnTo>
                    <a:pt x="985938" y="146397"/>
                  </a:lnTo>
                  <a:lnTo>
                    <a:pt x="1020669" y="175029"/>
                  </a:lnTo>
                  <a:lnTo>
                    <a:pt x="1053480" y="205787"/>
                  </a:lnTo>
                  <a:lnTo>
                    <a:pt x="1084269" y="238566"/>
                  </a:lnTo>
                  <a:lnTo>
                    <a:pt x="1112929" y="273261"/>
                  </a:lnTo>
                  <a:lnTo>
                    <a:pt x="1139356" y="309767"/>
                  </a:lnTo>
                  <a:lnTo>
                    <a:pt x="1163447" y="347980"/>
                  </a:lnTo>
                  <a:lnTo>
                    <a:pt x="1185094" y="387794"/>
                  </a:lnTo>
                  <a:lnTo>
                    <a:pt x="1204196" y="429107"/>
                  </a:lnTo>
                  <a:lnTo>
                    <a:pt x="1220645" y="471812"/>
                  </a:lnTo>
                  <a:lnTo>
                    <a:pt x="1234339" y="515805"/>
                  </a:lnTo>
                  <a:lnTo>
                    <a:pt x="1245172" y="560981"/>
                  </a:lnTo>
                  <a:lnTo>
                    <a:pt x="1253039" y="607236"/>
                  </a:lnTo>
                  <a:lnTo>
                    <a:pt x="1257836" y="654465"/>
                  </a:lnTo>
                  <a:lnTo>
                    <a:pt x="1259459" y="702563"/>
                  </a:lnTo>
                  <a:lnTo>
                    <a:pt x="1257836" y="750662"/>
                  </a:lnTo>
                  <a:lnTo>
                    <a:pt x="1253039" y="797891"/>
                  </a:lnTo>
                  <a:lnTo>
                    <a:pt x="1245172" y="844146"/>
                  </a:lnTo>
                  <a:lnTo>
                    <a:pt x="1234339" y="889322"/>
                  </a:lnTo>
                  <a:lnTo>
                    <a:pt x="1220645" y="933315"/>
                  </a:lnTo>
                  <a:lnTo>
                    <a:pt x="1204196" y="976020"/>
                  </a:lnTo>
                  <a:lnTo>
                    <a:pt x="1185094" y="1017333"/>
                  </a:lnTo>
                  <a:lnTo>
                    <a:pt x="1163447" y="1057147"/>
                  </a:lnTo>
                  <a:lnTo>
                    <a:pt x="1139356" y="1095360"/>
                  </a:lnTo>
                  <a:lnTo>
                    <a:pt x="1112929" y="1131866"/>
                  </a:lnTo>
                  <a:lnTo>
                    <a:pt x="1084269" y="1166561"/>
                  </a:lnTo>
                  <a:lnTo>
                    <a:pt x="1053480" y="1199340"/>
                  </a:lnTo>
                  <a:lnTo>
                    <a:pt x="1020669" y="1230098"/>
                  </a:lnTo>
                  <a:lnTo>
                    <a:pt x="985938" y="1258730"/>
                  </a:lnTo>
                  <a:lnTo>
                    <a:pt x="949394" y="1285133"/>
                  </a:lnTo>
                  <a:lnTo>
                    <a:pt x="911140" y="1309200"/>
                  </a:lnTo>
                  <a:lnTo>
                    <a:pt x="871281" y="1330828"/>
                  </a:lnTo>
                  <a:lnTo>
                    <a:pt x="829923" y="1349912"/>
                  </a:lnTo>
                  <a:lnTo>
                    <a:pt x="787169" y="1366347"/>
                  </a:lnTo>
                  <a:lnTo>
                    <a:pt x="743124" y="1380029"/>
                  </a:lnTo>
                  <a:lnTo>
                    <a:pt x="697894" y="1390853"/>
                  </a:lnTo>
                  <a:lnTo>
                    <a:pt x="651582" y="1398713"/>
                  </a:lnTo>
                  <a:lnTo>
                    <a:pt x="604293" y="1403507"/>
                  </a:lnTo>
                  <a:lnTo>
                    <a:pt x="556132" y="1405128"/>
                  </a:lnTo>
                  <a:lnTo>
                    <a:pt x="506172" y="1403355"/>
                  </a:lnTo>
                  <a:lnTo>
                    <a:pt x="456808" y="1398092"/>
                  </a:lnTo>
                  <a:lnTo>
                    <a:pt x="408205" y="1389418"/>
                  </a:lnTo>
                  <a:lnTo>
                    <a:pt x="360525" y="1377414"/>
                  </a:lnTo>
                  <a:lnTo>
                    <a:pt x="313933" y="1362159"/>
                  </a:lnTo>
                  <a:lnTo>
                    <a:pt x="268593" y="1343733"/>
                  </a:lnTo>
                  <a:lnTo>
                    <a:pt x="224667" y="1322217"/>
                  </a:lnTo>
                  <a:lnTo>
                    <a:pt x="182321" y="1297691"/>
                  </a:lnTo>
                  <a:lnTo>
                    <a:pt x="141717" y="1270235"/>
                  </a:lnTo>
                  <a:lnTo>
                    <a:pt x="103019" y="1239929"/>
                  </a:lnTo>
                  <a:lnTo>
                    <a:pt x="66391" y="1206853"/>
                  </a:lnTo>
                  <a:lnTo>
                    <a:pt x="31997" y="1171088"/>
                  </a:lnTo>
                  <a:lnTo>
                    <a:pt x="0" y="1132713"/>
                  </a:lnTo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94" name="object 18">
              <a:extLst>
                <a:ext uri="{FF2B5EF4-FFF2-40B4-BE49-F238E27FC236}">
                  <a16:creationId xmlns:a16="http://schemas.microsoft.com/office/drawing/2014/main" id="{39D84A9D-EAEA-4340-A3C3-C21E208CFB7E}"/>
                </a:ext>
              </a:extLst>
            </p:cNvPr>
            <p:cNvSpPr/>
            <p:nvPr/>
          </p:nvSpPr>
          <p:spPr>
            <a:xfrm>
              <a:off x="3467100" y="1962911"/>
              <a:ext cx="1278890" cy="1277620"/>
            </a:xfrm>
            <a:custGeom>
              <a:avLst/>
              <a:gdLst/>
              <a:ahLst/>
              <a:cxnLst/>
              <a:rect l="l" t="t" r="r" b="b"/>
              <a:pathLst>
                <a:path w="1278889" h="1277620">
                  <a:moveTo>
                    <a:pt x="639317" y="0"/>
                  </a:moveTo>
                  <a:lnTo>
                    <a:pt x="687027" y="1751"/>
                  </a:lnTo>
                  <a:lnTo>
                    <a:pt x="733785" y="6923"/>
                  </a:lnTo>
                  <a:lnTo>
                    <a:pt x="779468" y="15392"/>
                  </a:lnTo>
                  <a:lnTo>
                    <a:pt x="823952" y="27034"/>
                  </a:lnTo>
                  <a:lnTo>
                    <a:pt x="867112" y="41727"/>
                  </a:lnTo>
                  <a:lnTo>
                    <a:pt x="908827" y="59346"/>
                  </a:lnTo>
                  <a:lnTo>
                    <a:pt x="948971" y="79769"/>
                  </a:lnTo>
                  <a:lnTo>
                    <a:pt x="987422" y="102871"/>
                  </a:lnTo>
                  <a:lnTo>
                    <a:pt x="1024055" y="128530"/>
                  </a:lnTo>
                  <a:lnTo>
                    <a:pt x="1058747" y="156622"/>
                  </a:lnTo>
                  <a:lnTo>
                    <a:pt x="1091374" y="187023"/>
                  </a:lnTo>
                  <a:lnTo>
                    <a:pt x="1121813" y="219610"/>
                  </a:lnTo>
                  <a:lnTo>
                    <a:pt x="1149940" y="254260"/>
                  </a:lnTo>
                  <a:lnTo>
                    <a:pt x="1175631" y="290849"/>
                  </a:lnTo>
                  <a:lnTo>
                    <a:pt x="1198763" y="329253"/>
                  </a:lnTo>
                  <a:lnTo>
                    <a:pt x="1219212" y="369350"/>
                  </a:lnTo>
                  <a:lnTo>
                    <a:pt x="1236854" y="411016"/>
                  </a:lnTo>
                  <a:lnTo>
                    <a:pt x="1251565" y="454127"/>
                  </a:lnTo>
                  <a:lnTo>
                    <a:pt x="1263223" y="498560"/>
                  </a:lnTo>
                  <a:lnTo>
                    <a:pt x="1271703" y="544191"/>
                  </a:lnTo>
                  <a:lnTo>
                    <a:pt x="1276882" y="590898"/>
                  </a:lnTo>
                  <a:lnTo>
                    <a:pt x="1278636" y="638555"/>
                  </a:lnTo>
                  <a:lnTo>
                    <a:pt x="1276882" y="686213"/>
                  </a:lnTo>
                  <a:lnTo>
                    <a:pt x="1271703" y="732920"/>
                  </a:lnTo>
                  <a:lnTo>
                    <a:pt x="1263223" y="778551"/>
                  </a:lnTo>
                  <a:lnTo>
                    <a:pt x="1251565" y="822984"/>
                  </a:lnTo>
                  <a:lnTo>
                    <a:pt x="1236854" y="866095"/>
                  </a:lnTo>
                  <a:lnTo>
                    <a:pt x="1219212" y="907761"/>
                  </a:lnTo>
                  <a:lnTo>
                    <a:pt x="1198763" y="947858"/>
                  </a:lnTo>
                  <a:lnTo>
                    <a:pt x="1175631" y="986262"/>
                  </a:lnTo>
                  <a:lnTo>
                    <a:pt x="1149940" y="1022851"/>
                  </a:lnTo>
                  <a:lnTo>
                    <a:pt x="1121813" y="1057501"/>
                  </a:lnTo>
                  <a:lnTo>
                    <a:pt x="1091374" y="1090088"/>
                  </a:lnTo>
                  <a:lnTo>
                    <a:pt x="1058747" y="1120489"/>
                  </a:lnTo>
                  <a:lnTo>
                    <a:pt x="1024055" y="1148581"/>
                  </a:lnTo>
                  <a:lnTo>
                    <a:pt x="987422" y="1174240"/>
                  </a:lnTo>
                  <a:lnTo>
                    <a:pt x="948971" y="1197342"/>
                  </a:lnTo>
                  <a:lnTo>
                    <a:pt x="908827" y="1217765"/>
                  </a:lnTo>
                  <a:lnTo>
                    <a:pt x="867112" y="1235384"/>
                  </a:lnTo>
                  <a:lnTo>
                    <a:pt x="823952" y="1250077"/>
                  </a:lnTo>
                  <a:lnTo>
                    <a:pt x="779468" y="1261719"/>
                  </a:lnTo>
                  <a:lnTo>
                    <a:pt x="733785" y="1270188"/>
                  </a:lnTo>
                  <a:lnTo>
                    <a:pt x="687027" y="1275360"/>
                  </a:lnTo>
                  <a:lnTo>
                    <a:pt x="639317" y="1277112"/>
                  </a:lnTo>
                  <a:lnTo>
                    <a:pt x="591608" y="1275360"/>
                  </a:lnTo>
                  <a:lnTo>
                    <a:pt x="544850" y="1270188"/>
                  </a:lnTo>
                  <a:lnTo>
                    <a:pt x="499167" y="1261719"/>
                  </a:lnTo>
                  <a:lnTo>
                    <a:pt x="454683" y="1250077"/>
                  </a:lnTo>
                  <a:lnTo>
                    <a:pt x="411523" y="1235384"/>
                  </a:lnTo>
                  <a:lnTo>
                    <a:pt x="369808" y="1217765"/>
                  </a:lnTo>
                  <a:lnTo>
                    <a:pt x="329664" y="1197342"/>
                  </a:lnTo>
                  <a:lnTo>
                    <a:pt x="291213" y="1174240"/>
                  </a:lnTo>
                  <a:lnTo>
                    <a:pt x="254580" y="1148581"/>
                  </a:lnTo>
                  <a:lnTo>
                    <a:pt x="219888" y="1120489"/>
                  </a:lnTo>
                  <a:lnTo>
                    <a:pt x="187261" y="1090088"/>
                  </a:lnTo>
                  <a:lnTo>
                    <a:pt x="156822" y="1057501"/>
                  </a:lnTo>
                  <a:lnTo>
                    <a:pt x="128695" y="1022851"/>
                  </a:lnTo>
                  <a:lnTo>
                    <a:pt x="103004" y="986262"/>
                  </a:lnTo>
                  <a:lnTo>
                    <a:pt x="79872" y="947858"/>
                  </a:lnTo>
                  <a:lnTo>
                    <a:pt x="59423" y="907761"/>
                  </a:lnTo>
                  <a:lnTo>
                    <a:pt x="41781" y="866095"/>
                  </a:lnTo>
                  <a:lnTo>
                    <a:pt x="27070" y="822984"/>
                  </a:lnTo>
                  <a:lnTo>
                    <a:pt x="15412" y="778551"/>
                  </a:lnTo>
                  <a:lnTo>
                    <a:pt x="6932" y="732920"/>
                  </a:lnTo>
                  <a:lnTo>
                    <a:pt x="1753" y="686213"/>
                  </a:lnTo>
                  <a:lnTo>
                    <a:pt x="0" y="638555"/>
                  </a:lnTo>
                  <a:lnTo>
                    <a:pt x="2217" y="585401"/>
                  </a:lnTo>
                  <a:lnTo>
                    <a:pt x="8812" y="532886"/>
                  </a:lnTo>
                  <a:lnTo>
                    <a:pt x="19696" y="481266"/>
                  </a:lnTo>
                  <a:lnTo>
                    <a:pt x="34782" y="430799"/>
                  </a:lnTo>
                  <a:lnTo>
                    <a:pt x="53981" y="381744"/>
                  </a:lnTo>
                  <a:lnTo>
                    <a:pt x="77206" y="334357"/>
                  </a:lnTo>
                  <a:lnTo>
                    <a:pt x="104368" y="288895"/>
                  </a:lnTo>
                  <a:lnTo>
                    <a:pt x="135382" y="245617"/>
                  </a:lnTo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95" name="object 19">
              <a:extLst>
                <a:ext uri="{FF2B5EF4-FFF2-40B4-BE49-F238E27FC236}">
                  <a16:creationId xmlns:a16="http://schemas.microsoft.com/office/drawing/2014/main" id="{FA93E059-D73A-4DEB-A86E-EA5CEE7502DE}"/>
                </a:ext>
              </a:extLst>
            </p:cNvPr>
            <p:cNvSpPr/>
            <p:nvPr/>
          </p:nvSpPr>
          <p:spPr>
            <a:xfrm>
              <a:off x="4111752" y="1822704"/>
              <a:ext cx="772795" cy="1082675"/>
            </a:xfrm>
            <a:custGeom>
              <a:avLst/>
              <a:gdLst/>
              <a:ahLst/>
              <a:cxnLst/>
              <a:rect l="l" t="t" r="r" b="b"/>
              <a:pathLst>
                <a:path w="772795" h="1082675">
                  <a:moveTo>
                    <a:pt x="0" y="0"/>
                  </a:moveTo>
                  <a:lnTo>
                    <a:pt x="48863" y="1521"/>
                  </a:lnTo>
                  <a:lnTo>
                    <a:pt x="96919" y="6026"/>
                  </a:lnTo>
                  <a:lnTo>
                    <a:pt x="144077" y="13424"/>
                  </a:lnTo>
                  <a:lnTo>
                    <a:pt x="190246" y="23624"/>
                  </a:lnTo>
                  <a:lnTo>
                    <a:pt x="235337" y="36535"/>
                  </a:lnTo>
                  <a:lnTo>
                    <a:pt x="279258" y="52067"/>
                  </a:lnTo>
                  <a:lnTo>
                    <a:pt x="321919" y="70128"/>
                  </a:lnTo>
                  <a:lnTo>
                    <a:pt x="363229" y="90629"/>
                  </a:lnTo>
                  <a:lnTo>
                    <a:pt x="403098" y="113479"/>
                  </a:lnTo>
                  <a:lnTo>
                    <a:pt x="441436" y="138587"/>
                  </a:lnTo>
                  <a:lnTo>
                    <a:pt x="478151" y="165862"/>
                  </a:lnTo>
                  <a:lnTo>
                    <a:pt x="513154" y="195214"/>
                  </a:lnTo>
                  <a:lnTo>
                    <a:pt x="546354" y="226552"/>
                  </a:lnTo>
                  <a:lnTo>
                    <a:pt x="577659" y="259785"/>
                  </a:lnTo>
                  <a:lnTo>
                    <a:pt x="606981" y="294823"/>
                  </a:lnTo>
                  <a:lnTo>
                    <a:pt x="634228" y="331575"/>
                  </a:lnTo>
                  <a:lnTo>
                    <a:pt x="659309" y="369951"/>
                  </a:lnTo>
                  <a:lnTo>
                    <a:pt x="682135" y="409859"/>
                  </a:lnTo>
                  <a:lnTo>
                    <a:pt x="702614" y="451210"/>
                  </a:lnTo>
                  <a:lnTo>
                    <a:pt x="720657" y="493912"/>
                  </a:lnTo>
                  <a:lnTo>
                    <a:pt x="736172" y="537875"/>
                  </a:lnTo>
                  <a:lnTo>
                    <a:pt x="749069" y="583008"/>
                  </a:lnTo>
                  <a:lnTo>
                    <a:pt x="759257" y="629221"/>
                  </a:lnTo>
                  <a:lnTo>
                    <a:pt x="766647" y="676422"/>
                  </a:lnTo>
                  <a:lnTo>
                    <a:pt x="771147" y="724522"/>
                  </a:lnTo>
                  <a:lnTo>
                    <a:pt x="772668" y="773430"/>
                  </a:lnTo>
                  <a:lnTo>
                    <a:pt x="770853" y="826453"/>
                  </a:lnTo>
                  <a:lnTo>
                    <a:pt x="765433" y="879103"/>
                  </a:lnTo>
                  <a:lnTo>
                    <a:pt x="756443" y="931195"/>
                  </a:lnTo>
                  <a:lnTo>
                    <a:pt x="743918" y="982547"/>
                  </a:lnTo>
                  <a:lnTo>
                    <a:pt x="727894" y="1032974"/>
                  </a:lnTo>
                  <a:lnTo>
                    <a:pt x="708406" y="1082294"/>
                  </a:lnTo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96" name="object 40">
              <a:extLst>
                <a:ext uri="{FF2B5EF4-FFF2-40B4-BE49-F238E27FC236}">
                  <a16:creationId xmlns:a16="http://schemas.microsoft.com/office/drawing/2014/main" id="{5EB1EC92-DA5C-4D25-88D9-1F3DC9603D19}"/>
                </a:ext>
              </a:extLst>
            </p:cNvPr>
            <p:cNvSpPr/>
            <p:nvPr/>
          </p:nvSpPr>
          <p:spPr>
            <a:xfrm>
              <a:off x="3547109" y="2032254"/>
              <a:ext cx="1130935" cy="1130935"/>
            </a:xfrm>
            <a:custGeom>
              <a:avLst/>
              <a:gdLst/>
              <a:ahLst/>
              <a:cxnLst/>
              <a:rect l="l" t="t" r="r" b="b"/>
              <a:pathLst>
                <a:path w="1130935" h="1130935">
                  <a:moveTo>
                    <a:pt x="565403" y="0"/>
                  </a:moveTo>
                  <a:lnTo>
                    <a:pt x="516614" y="2075"/>
                  </a:lnTo>
                  <a:lnTo>
                    <a:pt x="468978" y="8187"/>
                  </a:lnTo>
                  <a:lnTo>
                    <a:pt x="422665" y="18167"/>
                  </a:lnTo>
                  <a:lnTo>
                    <a:pt x="377844" y="31845"/>
                  </a:lnTo>
                  <a:lnTo>
                    <a:pt x="334686" y="49051"/>
                  </a:lnTo>
                  <a:lnTo>
                    <a:pt x="293360" y="69615"/>
                  </a:lnTo>
                  <a:lnTo>
                    <a:pt x="254034" y="93369"/>
                  </a:lnTo>
                  <a:lnTo>
                    <a:pt x="216881" y="120142"/>
                  </a:lnTo>
                  <a:lnTo>
                    <a:pt x="182067" y="149765"/>
                  </a:lnTo>
                  <a:lnTo>
                    <a:pt x="149765" y="182067"/>
                  </a:lnTo>
                  <a:lnTo>
                    <a:pt x="120142" y="216881"/>
                  </a:lnTo>
                  <a:lnTo>
                    <a:pt x="93369" y="254034"/>
                  </a:lnTo>
                  <a:lnTo>
                    <a:pt x="69615" y="293360"/>
                  </a:lnTo>
                  <a:lnTo>
                    <a:pt x="49051" y="334686"/>
                  </a:lnTo>
                  <a:lnTo>
                    <a:pt x="31845" y="377844"/>
                  </a:lnTo>
                  <a:lnTo>
                    <a:pt x="18167" y="422665"/>
                  </a:lnTo>
                  <a:lnTo>
                    <a:pt x="8187" y="468978"/>
                  </a:lnTo>
                  <a:lnTo>
                    <a:pt x="2075" y="516614"/>
                  </a:lnTo>
                  <a:lnTo>
                    <a:pt x="0" y="565404"/>
                  </a:lnTo>
                  <a:lnTo>
                    <a:pt x="2075" y="614193"/>
                  </a:lnTo>
                  <a:lnTo>
                    <a:pt x="8187" y="661829"/>
                  </a:lnTo>
                  <a:lnTo>
                    <a:pt x="18167" y="708142"/>
                  </a:lnTo>
                  <a:lnTo>
                    <a:pt x="31845" y="752963"/>
                  </a:lnTo>
                  <a:lnTo>
                    <a:pt x="49051" y="796121"/>
                  </a:lnTo>
                  <a:lnTo>
                    <a:pt x="69615" y="837447"/>
                  </a:lnTo>
                  <a:lnTo>
                    <a:pt x="93369" y="876773"/>
                  </a:lnTo>
                  <a:lnTo>
                    <a:pt x="120142" y="913926"/>
                  </a:lnTo>
                  <a:lnTo>
                    <a:pt x="149765" y="948740"/>
                  </a:lnTo>
                  <a:lnTo>
                    <a:pt x="182067" y="981042"/>
                  </a:lnTo>
                  <a:lnTo>
                    <a:pt x="216881" y="1010665"/>
                  </a:lnTo>
                  <a:lnTo>
                    <a:pt x="254034" y="1037438"/>
                  </a:lnTo>
                  <a:lnTo>
                    <a:pt x="293360" y="1061192"/>
                  </a:lnTo>
                  <a:lnTo>
                    <a:pt x="334686" y="1081756"/>
                  </a:lnTo>
                  <a:lnTo>
                    <a:pt x="377844" y="1098962"/>
                  </a:lnTo>
                  <a:lnTo>
                    <a:pt x="422665" y="1112640"/>
                  </a:lnTo>
                  <a:lnTo>
                    <a:pt x="468978" y="1122620"/>
                  </a:lnTo>
                  <a:lnTo>
                    <a:pt x="516614" y="1128732"/>
                  </a:lnTo>
                  <a:lnTo>
                    <a:pt x="565403" y="1130808"/>
                  </a:lnTo>
                  <a:lnTo>
                    <a:pt x="614193" y="1128732"/>
                  </a:lnTo>
                  <a:lnTo>
                    <a:pt x="661829" y="1122620"/>
                  </a:lnTo>
                  <a:lnTo>
                    <a:pt x="708142" y="1112640"/>
                  </a:lnTo>
                  <a:lnTo>
                    <a:pt x="752963" y="1098962"/>
                  </a:lnTo>
                  <a:lnTo>
                    <a:pt x="796121" y="1081756"/>
                  </a:lnTo>
                  <a:lnTo>
                    <a:pt x="837447" y="1061192"/>
                  </a:lnTo>
                  <a:lnTo>
                    <a:pt x="876773" y="1037438"/>
                  </a:lnTo>
                  <a:lnTo>
                    <a:pt x="913926" y="1010665"/>
                  </a:lnTo>
                  <a:lnTo>
                    <a:pt x="948740" y="981042"/>
                  </a:lnTo>
                  <a:lnTo>
                    <a:pt x="981042" y="948740"/>
                  </a:lnTo>
                  <a:lnTo>
                    <a:pt x="1010665" y="913926"/>
                  </a:lnTo>
                  <a:lnTo>
                    <a:pt x="1037438" y="876773"/>
                  </a:lnTo>
                  <a:lnTo>
                    <a:pt x="1061192" y="837447"/>
                  </a:lnTo>
                  <a:lnTo>
                    <a:pt x="1081756" y="796121"/>
                  </a:lnTo>
                  <a:lnTo>
                    <a:pt x="1098962" y="752963"/>
                  </a:lnTo>
                  <a:lnTo>
                    <a:pt x="1112640" y="708142"/>
                  </a:lnTo>
                  <a:lnTo>
                    <a:pt x="1122620" y="661829"/>
                  </a:lnTo>
                  <a:lnTo>
                    <a:pt x="1128732" y="614193"/>
                  </a:lnTo>
                  <a:lnTo>
                    <a:pt x="1130807" y="565404"/>
                  </a:lnTo>
                  <a:lnTo>
                    <a:pt x="1128732" y="516614"/>
                  </a:lnTo>
                  <a:lnTo>
                    <a:pt x="1122620" y="468978"/>
                  </a:lnTo>
                  <a:lnTo>
                    <a:pt x="1112640" y="422665"/>
                  </a:lnTo>
                  <a:lnTo>
                    <a:pt x="1098962" y="377844"/>
                  </a:lnTo>
                  <a:lnTo>
                    <a:pt x="1081756" y="334686"/>
                  </a:lnTo>
                  <a:lnTo>
                    <a:pt x="1061192" y="293360"/>
                  </a:lnTo>
                  <a:lnTo>
                    <a:pt x="1037438" y="254034"/>
                  </a:lnTo>
                  <a:lnTo>
                    <a:pt x="1010665" y="216881"/>
                  </a:lnTo>
                  <a:lnTo>
                    <a:pt x="981042" y="182067"/>
                  </a:lnTo>
                  <a:lnTo>
                    <a:pt x="948740" y="149765"/>
                  </a:lnTo>
                  <a:lnTo>
                    <a:pt x="913926" y="120142"/>
                  </a:lnTo>
                  <a:lnTo>
                    <a:pt x="876773" y="93369"/>
                  </a:lnTo>
                  <a:lnTo>
                    <a:pt x="837447" y="69615"/>
                  </a:lnTo>
                  <a:lnTo>
                    <a:pt x="796121" y="49051"/>
                  </a:lnTo>
                  <a:lnTo>
                    <a:pt x="752963" y="31845"/>
                  </a:lnTo>
                  <a:lnTo>
                    <a:pt x="708142" y="18167"/>
                  </a:lnTo>
                  <a:lnTo>
                    <a:pt x="661829" y="8187"/>
                  </a:lnTo>
                  <a:lnTo>
                    <a:pt x="614193" y="2075"/>
                  </a:lnTo>
                  <a:lnTo>
                    <a:pt x="565403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97" name="object 41">
              <a:extLst>
                <a:ext uri="{FF2B5EF4-FFF2-40B4-BE49-F238E27FC236}">
                  <a16:creationId xmlns:a16="http://schemas.microsoft.com/office/drawing/2014/main" id="{D7771BC4-39B1-414E-BCE4-0E3A278BAF32}"/>
                </a:ext>
              </a:extLst>
            </p:cNvPr>
            <p:cNvSpPr/>
            <p:nvPr/>
          </p:nvSpPr>
          <p:spPr>
            <a:xfrm>
              <a:off x="3547109" y="2032254"/>
              <a:ext cx="1130935" cy="1130935"/>
            </a:xfrm>
            <a:custGeom>
              <a:avLst/>
              <a:gdLst/>
              <a:ahLst/>
              <a:cxnLst/>
              <a:rect l="l" t="t" r="r" b="b"/>
              <a:pathLst>
                <a:path w="1130935" h="1130935">
                  <a:moveTo>
                    <a:pt x="0" y="565404"/>
                  </a:moveTo>
                  <a:lnTo>
                    <a:pt x="2075" y="516614"/>
                  </a:lnTo>
                  <a:lnTo>
                    <a:pt x="8187" y="468978"/>
                  </a:lnTo>
                  <a:lnTo>
                    <a:pt x="18167" y="422665"/>
                  </a:lnTo>
                  <a:lnTo>
                    <a:pt x="31845" y="377844"/>
                  </a:lnTo>
                  <a:lnTo>
                    <a:pt x="49051" y="334686"/>
                  </a:lnTo>
                  <a:lnTo>
                    <a:pt x="69615" y="293360"/>
                  </a:lnTo>
                  <a:lnTo>
                    <a:pt x="93369" y="254034"/>
                  </a:lnTo>
                  <a:lnTo>
                    <a:pt x="120142" y="216881"/>
                  </a:lnTo>
                  <a:lnTo>
                    <a:pt x="149765" y="182067"/>
                  </a:lnTo>
                  <a:lnTo>
                    <a:pt x="182067" y="149765"/>
                  </a:lnTo>
                  <a:lnTo>
                    <a:pt x="216881" y="120142"/>
                  </a:lnTo>
                  <a:lnTo>
                    <a:pt x="254034" y="93369"/>
                  </a:lnTo>
                  <a:lnTo>
                    <a:pt x="293360" y="69615"/>
                  </a:lnTo>
                  <a:lnTo>
                    <a:pt x="334686" y="49051"/>
                  </a:lnTo>
                  <a:lnTo>
                    <a:pt x="377844" y="31845"/>
                  </a:lnTo>
                  <a:lnTo>
                    <a:pt x="422665" y="18167"/>
                  </a:lnTo>
                  <a:lnTo>
                    <a:pt x="468978" y="8187"/>
                  </a:lnTo>
                  <a:lnTo>
                    <a:pt x="516614" y="2075"/>
                  </a:lnTo>
                  <a:lnTo>
                    <a:pt x="565403" y="0"/>
                  </a:lnTo>
                  <a:lnTo>
                    <a:pt x="614193" y="2075"/>
                  </a:lnTo>
                  <a:lnTo>
                    <a:pt x="661829" y="8187"/>
                  </a:lnTo>
                  <a:lnTo>
                    <a:pt x="708142" y="18167"/>
                  </a:lnTo>
                  <a:lnTo>
                    <a:pt x="752963" y="31845"/>
                  </a:lnTo>
                  <a:lnTo>
                    <a:pt x="796121" y="49051"/>
                  </a:lnTo>
                  <a:lnTo>
                    <a:pt x="837447" y="69615"/>
                  </a:lnTo>
                  <a:lnTo>
                    <a:pt x="876773" y="93369"/>
                  </a:lnTo>
                  <a:lnTo>
                    <a:pt x="913926" y="120142"/>
                  </a:lnTo>
                  <a:lnTo>
                    <a:pt x="948740" y="149765"/>
                  </a:lnTo>
                  <a:lnTo>
                    <a:pt x="981042" y="182067"/>
                  </a:lnTo>
                  <a:lnTo>
                    <a:pt x="1010665" y="216881"/>
                  </a:lnTo>
                  <a:lnTo>
                    <a:pt x="1037438" y="254034"/>
                  </a:lnTo>
                  <a:lnTo>
                    <a:pt x="1061192" y="293360"/>
                  </a:lnTo>
                  <a:lnTo>
                    <a:pt x="1081756" y="334686"/>
                  </a:lnTo>
                  <a:lnTo>
                    <a:pt x="1098962" y="377844"/>
                  </a:lnTo>
                  <a:lnTo>
                    <a:pt x="1112640" y="422665"/>
                  </a:lnTo>
                  <a:lnTo>
                    <a:pt x="1122620" y="468978"/>
                  </a:lnTo>
                  <a:lnTo>
                    <a:pt x="1128732" y="516614"/>
                  </a:lnTo>
                  <a:lnTo>
                    <a:pt x="1130807" y="565404"/>
                  </a:lnTo>
                  <a:lnTo>
                    <a:pt x="1128732" y="614193"/>
                  </a:lnTo>
                  <a:lnTo>
                    <a:pt x="1122620" y="661829"/>
                  </a:lnTo>
                  <a:lnTo>
                    <a:pt x="1112640" y="708142"/>
                  </a:lnTo>
                  <a:lnTo>
                    <a:pt x="1098962" y="752963"/>
                  </a:lnTo>
                  <a:lnTo>
                    <a:pt x="1081756" y="796121"/>
                  </a:lnTo>
                  <a:lnTo>
                    <a:pt x="1061192" y="837447"/>
                  </a:lnTo>
                  <a:lnTo>
                    <a:pt x="1037438" y="876773"/>
                  </a:lnTo>
                  <a:lnTo>
                    <a:pt x="1010665" y="913926"/>
                  </a:lnTo>
                  <a:lnTo>
                    <a:pt x="981042" y="948740"/>
                  </a:lnTo>
                  <a:lnTo>
                    <a:pt x="948740" y="981042"/>
                  </a:lnTo>
                  <a:lnTo>
                    <a:pt x="913926" y="1010665"/>
                  </a:lnTo>
                  <a:lnTo>
                    <a:pt x="876773" y="1037438"/>
                  </a:lnTo>
                  <a:lnTo>
                    <a:pt x="837447" y="1061192"/>
                  </a:lnTo>
                  <a:lnTo>
                    <a:pt x="796121" y="1081756"/>
                  </a:lnTo>
                  <a:lnTo>
                    <a:pt x="752963" y="1098962"/>
                  </a:lnTo>
                  <a:lnTo>
                    <a:pt x="708142" y="1112640"/>
                  </a:lnTo>
                  <a:lnTo>
                    <a:pt x="661829" y="1122620"/>
                  </a:lnTo>
                  <a:lnTo>
                    <a:pt x="614193" y="1128732"/>
                  </a:lnTo>
                  <a:lnTo>
                    <a:pt x="565403" y="1130808"/>
                  </a:lnTo>
                  <a:lnTo>
                    <a:pt x="516614" y="1128732"/>
                  </a:lnTo>
                  <a:lnTo>
                    <a:pt x="468978" y="1122620"/>
                  </a:lnTo>
                  <a:lnTo>
                    <a:pt x="422665" y="1112640"/>
                  </a:lnTo>
                  <a:lnTo>
                    <a:pt x="377844" y="1098962"/>
                  </a:lnTo>
                  <a:lnTo>
                    <a:pt x="334686" y="1081756"/>
                  </a:lnTo>
                  <a:lnTo>
                    <a:pt x="293360" y="1061192"/>
                  </a:lnTo>
                  <a:lnTo>
                    <a:pt x="254034" y="1037438"/>
                  </a:lnTo>
                  <a:lnTo>
                    <a:pt x="216881" y="1010665"/>
                  </a:lnTo>
                  <a:lnTo>
                    <a:pt x="182067" y="981042"/>
                  </a:lnTo>
                  <a:lnTo>
                    <a:pt x="149765" y="948740"/>
                  </a:lnTo>
                  <a:lnTo>
                    <a:pt x="120142" y="913926"/>
                  </a:lnTo>
                  <a:lnTo>
                    <a:pt x="93369" y="876773"/>
                  </a:lnTo>
                  <a:lnTo>
                    <a:pt x="69615" y="837447"/>
                  </a:lnTo>
                  <a:lnTo>
                    <a:pt x="49051" y="796121"/>
                  </a:lnTo>
                  <a:lnTo>
                    <a:pt x="31845" y="752963"/>
                  </a:lnTo>
                  <a:lnTo>
                    <a:pt x="18167" y="708142"/>
                  </a:lnTo>
                  <a:lnTo>
                    <a:pt x="8187" y="661829"/>
                  </a:lnTo>
                  <a:lnTo>
                    <a:pt x="2075" y="614193"/>
                  </a:lnTo>
                  <a:lnTo>
                    <a:pt x="0" y="565404"/>
                  </a:lnTo>
                  <a:close/>
                </a:path>
              </a:pathLst>
            </a:custGeom>
            <a:ln w="19812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5F98BD0-9C70-423F-B7F0-EA3AF60AE0F8}"/>
              </a:ext>
            </a:extLst>
          </p:cNvPr>
          <p:cNvGrpSpPr/>
          <p:nvPr/>
        </p:nvGrpSpPr>
        <p:grpSpPr>
          <a:xfrm>
            <a:off x="4195066" y="1830912"/>
            <a:ext cx="1104822" cy="1136861"/>
            <a:chOff x="3467100" y="1822704"/>
            <a:chExt cx="1417447" cy="1481455"/>
          </a:xfrm>
        </p:grpSpPr>
        <p:sp>
          <p:nvSpPr>
            <p:cNvPr id="88" name="object 17">
              <a:extLst>
                <a:ext uri="{FF2B5EF4-FFF2-40B4-BE49-F238E27FC236}">
                  <a16:creationId xmlns:a16="http://schemas.microsoft.com/office/drawing/2014/main" id="{B5D444B5-A855-405E-8E10-00316D895446}"/>
                </a:ext>
              </a:extLst>
            </p:cNvPr>
            <p:cNvSpPr/>
            <p:nvPr/>
          </p:nvSpPr>
          <p:spPr>
            <a:xfrm>
              <a:off x="3550284" y="1898904"/>
              <a:ext cx="1259840" cy="1405255"/>
            </a:xfrm>
            <a:custGeom>
              <a:avLst/>
              <a:gdLst/>
              <a:ahLst/>
              <a:cxnLst/>
              <a:rect l="l" t="t" r="r" b="b"/>
              <a:pathLst>
                <a:path w="1259839" h="1405254">
                  <a:moveTo>
                    <a:pt x="556132" y="0"/>
                  </a:moveTo>
                  <a:lnTo>
                    <a:pt x="604293" y="1620"/>
                  </a:lnTo>
                  <a:lnTo>
                    <a:pt x="651582" y="6414"/>
                  </a:lnTo>
                  <a:lnTo>
                    <a:pt x="697894" y="14274"/>
                  </a:lnTo>
                  <a:lnTo>
                    <a:pt x="743124" y="25098"/>
                  </a:lnTo>
                  <a:lnTo>
                    <a:pt x="787169" y="38780"/>
                  </a:lnTo>
                  <a:lnTo>
                    <a:pt x="829923" y="55215"/>
                  </a:lnTo>
                  <a:lnTo>
                    <a:pt x="871281" y="74299"/>
                  </a:lnTo>
                  <a:lnTo>
                    <a:pt x="911140" y="95927"/>
                  </a:lnTo>
                  <a:lnTo>
                    <a:pt x="949394" y="119994"/>
                  </a:lnTo>
                  <a:lnTo>
                    <a:pt x="985938" y="146397"/>
                  </a:lnTo>
                  <a:lnTo>
                    <a:pt x="1020669" y="175029"/>
                  </a:lnTo>
                  <a:lnTo>
                    <a:pt x="1053480" y="205787"/>
                  </a:lnTo>
                  <a:lnTo>
                    <a:pt x="1084269" y="238566"/>
                  </a:lnTo>
                  <a:lnTo>
                    <a:pt x="1112929" y="273261"/>
                  </a:lnTo>
                  <a:lnTo>
                    <a:pt x="1139356" y="309767"/>
                  </a:lnTo>
                  <a:lnTo>
                    <a:pt x="1163447" y="347980"/>
                  </a:lnTo>
                  <a:lnTo>
                    <a:pt x="1185094" y="387794"/>
                  </a:lnTo>
                  <a:lnTo>
                    <a:pt x="1204196" y="429107"/>
                  </a:lnTo>
                  <a:lnTo>
                    <a:pt x="1220645" y="471812"/>
                  </a:lnTo>
                  <a:lnTo>
                    <a:pt x="1234339" y="515805"/>
                  </a:lnTo>
                  <a:lnTo>
                    <a:pt x="1245172" y="560981"/>
                  </a:lnTo>
                  <a:lnTo>
                    <a:pt x="1253039" y="607236"/>
                  </a:lnTo>
                  <a:lnTo>
                    <a:pt x="1257836" y="654465"/>
                  </a:lnTo>
                  <a:lnTo>
                    <a:pt x="1259459" y="702563"/>
                  </a:lnTo>
                  <a:lnTo>
                    <a:pt x="1257836" y="750662"/>
                  </a:lnTo>
                  <a:lnTo>
                    <a:pt x="1253039" y="797891"/>
                  </a:lnTo>
                  <a:lnTo>
                    <a:pt x="1245172" y="844146"/>
                  </a:lnTo>
                  <a:lnTo>
                    <a:pt x="1234339" y="889322"/>
                  </a:lnTo>
                  <a:lnTo>
                    <a:pt x="1220645" y="933315"/>
                  </a:lnTo>
                  <a:lnTo>
                    <a:pt x="1204196" y="976020"/>
                  </a:lnTo>
                  <a:lnTo>
                    <a:pt x="1185094" y="1017333"/>
                  </a:lnTo>
                  <a:lnTo>
                    <a:pt x="1163447" y="1057147"/>
                  </a:lnTo>
                  <a:lnTo>
                    <a:pt x="1139356" y="1095360"/>
                  </a:lnTo>
                  <a:lnTo>
                    <a:pt x="1112929" y="1131866"/>
                  </a:lnTo>
                  <a:lnTo>
                    <a:pt x="1084269" y="1166561"/>
                  </a:lnTo>
                  <a:lnTo>
                    <a:pt x="1053480" y="1199340"/>
                  </a:lnTo>
                  <a:lnTo>
                    <a:pt x="1020669" y="1230098"/>
                  </a:lnTo>
                  <a:lnTo>
                    <a:pt x="985938" y="1258730"/>
                  </a:lnTo>
                  <a:lnTo>
                    <a:pt x="949394" y="1285133"/>
                  </a:lnTo>
                  <a:lnTo>
                    <a:pt x="911140" y="1309200"/>
                  </a:lnTo>
                  <a:lnTo>
                    <a:pt x="871281" y="1330828"/>
                  </a:lnTo>
                  <a:lnTo>
                    <a:pt x="829923" y="1349912"/>
                  </a:lnTo>
                  <a:lnTo>
                    <a:pt x="787169" y="1366347"/>
                  </a:lnTo>
                  <a:lnTo>
                    <a:pt x="743124" y="1380029"/>
                  </a:lnTo>
                  <a:lnTo>
                    <a:pt x="697894" y="1390853"/>
                  </a:lnTo>
                  <a:lnTo>
                    <a:pt x="651582" y="1398713"/>
                  </a:lnTo>
                  <a:lnTo>
                    <a:pt x="604293" y="1403507"/>
                  </a:lnTo>
                  <a:lnTo>
                    <a:pt x="556132" y="1405128"/>
                  </a:lnTo>
                  <a:lnTo>
                    <a:pt x="506172" y="1403355"/>
                  </a:lnTo>
                  <a:lnTo>
                    <a:pt x="456808" y="1398092"/>
                  </a:lnTo>
                  <a:lnTo>
                    <a:pt x="408205" y="1389418"/>
                  </a:lnTo>
                  <a:lnTo>
                    <a:pt x="360525" y="1377414"/>
                  </a:lnTo>
                  <a:lnTo>
                    <a:pt x="313933" y="1362159"/>
                  </a:lnTo>
                  <a:lnTo>
                    <a:pt x="268593" y="1343733"/>
                  </a:lnTo>
                  <a:lnTo>
                    <a:pt x="224667" y="1322217"/>
                  </a:lnTo>
                  <a:lnTo>
                    <a:pt x="182321" y="1297691"/>
                  </a:lnTo>
                  <a:lnTo>
                    <a:pt x="141717" y="1270235"/>
                  </a:lnTo>
                  <a:lnTo>
                    <a:pt x="103019" y="1239929"/>
                  </a:lnTo>
                  <a:lnTo>
                    <a:pt x="66391" y="1206853"/>
                  </a:lnTo>
                  <a:lnTo>
                    <a:pt x="31997" y="1171088"/>
                  </a:lnTo>
                  <a:lnTo>
                    <a:pt x="0" y="1132713"/>
                  </a:lnTo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89" name="object 18">
              <a:extLst>
                <a:ext uri="{FF2B5EF4-FFF2-40B4-BE49-F238E27FC236}">
                  <a16:creationId xmlns:a16="http://schemas.microsoft.com/office/drawing/2014/main" id="{5EC512BE-67A6-44A1-BDE2-56287FBEC9DA}"/>
                </a:ext>
              </a:extLst>
            </p:cNvPr>
            <p:cNvSpPr/>
            <p:nvPr/>
          </p:nvSpPr>
          <p:spPr>
            <a:xfrm>
              <a:off x="3467100" y="1962911"/>
              <a:ext cx="1278890" cy="1277620"/>
            </a:xfrm>
            <a:custGeom>
              <a:avLst/>
              <a:gdLst/>
              <a:ahLst/>
              <a:cxnLst/>
              <a:rect l="l" t="t" r="r" b="b"/>
              <a:pathLst>
                <a:path w="1278889" h="1277620">
                  <a:moveTo>
                    <a:pt x="639317" y="0"/>
                  </a:moveTo>
                  <a:lnTo>
                    <a:pt x="687027" y="1751"/>
                  </a:lnTo>
                  <a:lnTo>
                    <a:pt x="733785" y="6923"/>
                  </a:lnTo>
                  <a:lnTo>
                    <a:pt x="779468" y="15392"/>
                  </a:lnTo>
                  <a:lnTo>
                    <a:pt x="823952" y="27034"/>
                  </a:lnTo>
                  <a:lnTo>
                    <a:pt x="867112" y="41727"/>
                  </a:lnTo>
                  <a:lnTo>
                    <a:pt x="908827" y="59346"/>
                  </a:lnTo>
                  <a:lnTo>
                    <a:pt x="948971" y="79769"/>
                  </a:lnTo>
                  <a:lnTo>
                    <a:pt x="987422" y="102871"/>
                  </a:lnTo>
                  <a:lnTo>
                    <a:pt x="1024055" y="128530"/>
                  </a:lnTo>
                  <a:lnTo>
                    <a:pt x="1058747" y="156622"/>
                  </a:lnTo>
                  <a:lnTo>
                    <a:pt x="1091374" y="187023"/>
                  </a:lnTo>
                  <a:lnTo>
                    <a:pt x="1121813" y="219610"/>
                  </a:lnTo>
                  <a:lnTo>
                    <a:pt x="1149940" y="254260"/>
                  </a:lnTo>
                  <a:lnTo>
                    <a:pt x="1175631" y="290849"/>
                  </a:lnTo>
                  <a:lnTo>
                    <a:pt x="1198763" y="329253"/>
                  </a:lnTo>
                  <a:lnTo>
                    <a:pt x="1219212" y="369350"/>
                  </a:lnTo>
                  <a:lnTo>
                    <a:pt x="1236854" y="411016"/>
                  </a:lnTo>
                  <a:lnTo>
                    <a:pt x="1251565" y="454127"/>
                  </a:lnTo>
                  <a:lnTo>
                    <a:pt x="1263223" y="498560"/>
                  </a:lnTo>
                  <a:lnTo>
                    <a:pt x="1271703" y="544191"/>
                  </a:lnTo>
                  <a:lnTo>
                    <a:pt x="1276882" y="590898"/>
                  </a:lnTo>
                  <a:lnTo>
                    <a:pt x="1278636" y="638555"/>
                  </a:lnTo>
                  <a:lnTo>
                    <a:pt x="1276882" y="686213"/>
                  </a:lnTo>
                  <a:lnTo>
                    <a:pt x="1271703" y="732920"/>
                  </a:lnTo>
                  <a:lnTo>
                    <a:pt x="1263223" y="778551"/>
                  </a:lnTo>
                  <a:lnTo>
                    <a:pt x="1251565" y="822984"/>
                  </a:lnTo>
                  <a:lnTo>
                    <a:pt x="1236854" y="866095"/>
                  </a:lnTo>
                  <a:lnTo>
                    <a:pt x="1219212" y="907761"/>
                  </a:lnTo>
                  <a:lnTo>
                    <a:pt x="1198763" y="947858"/>
                  </a:lnTo>
                  <a:lnTo>
                    <a:pt x="1175631" y="986262"/>
                  </a:lnTo>
                  <a:lnTo>
                    <a:pt x="1149940" y="1022851"/>
                  </a:lnTo>
                  <a:lnTo>
                    <a:pt x="1121813" y="1057501"/>
                  </a:lnTo>
                  <a:lnTo>
                    <a:pt x="1091374" y="1090088"/>
                  </a:lnTo>
                  <a:lnTo>
                    <a:pt x="1058747" y="1120489"/>
                  </a:lnTo>
                  <a:lnTo>
                    <a:pt x="1024055" y="1148581"/>
                  </a:lnTo>
                  <a:lnTo>
                    <a:pt x="987422" y="1174240"/>
                  </a:lnTo>
                  <a:lnTo>
                    <a:pt x="948971" y="1197342"/>
                  </a:lnTo>
                  <a:lnTo>
                    <a:pt x="908827" y="1217765"/>
                  </a:lnTo>
                  <a:lnTo>
                    <a:pt x="867112" y="1235384"/>
                  </a:lnTo>
                  <a:lnTo>
                    <a:pt x="823952" y="1250077"/>
                  </a:lnTo>
                  <a:lnTo>
                    <a:pt x="779468" y="1261719"/>
                  </a:lnTo>
                  <a:lnTo>
                    <a:pt x="733785" y="1270188"/>
                  </a:lnTo>
                  <a:lnTo>
                    <a:pt x="687027" y="1275360"/>
                  </a:lnTo>
                  <a:lnTo>
                    <a:pt x="639317" y="1277112"/>
                  </a:lnTo>
                  <a:lnTo>
                    <a:pt x="591608" y="1275360"/>
                  </a:lnTo>
                  <a:lnTo>
                    <a:pt x="544850" y="1270188"/>
                  </a:lnTo>
                  <a:lnTo>
                    <a:pt x="499167" y="1261719"/>
                  </a:lnTo>
                  <a:lnTo>
                    <a:pt x="454683" y="1250077"/>
                  </a:lnTo>
                  <a:lnTo>
                    <a:pt x="411523" y="1235384"/>
                  </a:lnTo>
                  <a:lnTo>
                    <a:pt x="369808" y="1217765"/>
                  </a:lnTo>
                  <a:lnTo>
                    <a:pt x="329664" y="1197342"/>
                  </a:lnTo>
                  <a:lnTo>
                    <a:pt x="291213" y="1174240"/>
                  </a:lnTo>
                  <a:lnTo>
                    <a:pt x="254580" y="1148581"/>
                  </a:lnTo>
                  <a:lnTo>
                    <a:pt x="219888" y="1120489"/>
                  </a:lnTo>
                  <a:lnTo>
                    <a:pt x="187261" y="1090088"/>
                  </a:lnTo>
                  <a:lnTo>
                    <a:pt x="156822" y="1057501"/>
                  </a:lnTo>
                  <a:lnTo>
                    <a:pt x="128695" y="1022851"/>
                  </a:lnTo>
                  <a:lnTo>
                    <a:pt x="103004" y="986262"/>
                  </a:lnTo>
                  <a:lnTo>
                    <a:pt x="79872" y="947858"/>
                  </a:lnTo>
                  <a:lnTo>
                    <a:pt x="59423" y="907761"/>
                  </a:lnTo>
                  <a:lnTo>
                    <a:pt x="41781" y="866095"/>
                  </a:lnTo>
                  <a:lnTo>
                    <a:pt x="27070" y="822984"/>
                  </a:lnTo>
                  <a:lnTo>
                    <a:pt x="15412" y="778551"/>
                  </a:lnTo>
                  <a:lnTo>
                    <a:pt x="6932" y="732920"/>
                  </a:lnTo>
                  <a:lnTo>
                    <a:pt x="1753" y="686213"/>
                  </a:lnTo>
                  <a:lnTo>
                    <a:pt x="0" y="638555"/>
                  </a:lnTo>
                  <a:lnTo>
                    <a:pt x="2217" y="585401"/>
                  </a:lnTo>
                  <a:lnTo>
                    <a:pt x="8812" y="532886"/>
                  </a:lnTo>
                  <a:lnTo>
                    <a:pt x="19696" y="481266"/>
                  </a:lnTo>
                  <a:lnTo>
                    <a:pt x="34782" y="430799"/>
                  </a:lnTo>
                  <a:lnTo>
                    <a:pt x="53981" y="381744"/>
                  </a:lnTo>
                  <a:lnTo>
                    <a:pt x="77206" y="334357"/>
                  </a:lnTo>
                  <a:lnTo>
                    <a:pt x="104368" y="288895"/>
                  </a:lnTo>
                  <a:lnTo>
                    <a:pt x="135382" y="245617"/>
                  </a:lnTo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90" name="object 19">
              <a:extLst>
                <a:ext uri="{FF2B5EF4-FFF2-40B4-BE49-F238E27FC236}">
                  <a16:creationId xmlns:a16="http://schemas.microsoft.com/office/drawing/2014/main" id="{F1DB4467-5B6C-44DD-B234-B0BE9E82E6DA}"/>
                </a:ext>
              </a:extLst>
            </p:cNvPr>
            <p:cNvSpPr/>
            <p:nvPr/>
          </p:nvSpPr>
          <p:spPr>
            <a:xfrm>
              <a:off x="4111752" y="1822704"/>
              <a:ext cx="772795" cy="1082675"/>
            </a:xfrm>
            <a:custGeom>
              <a:avLst/>
              <a:gdLst/>
              <a:ahLst/>
              <a:cxnLst/>
              <a:rect l="l" t="t" r="r" b="b"/>
              <a:pathLst>
                <a:path w="772795" h="1082675">
                  <a:moveTo>
                    <a:pt x="0" y="0"/>
                  </a:moveTo>
                  <a:lnTo>
                    <a:pt x="48863" y="1521"/>
                  </a:lnTo>
                  <a:lnTo>
                    <a:pt x="96919" y="6026"/>
                  </a:lnTo>
                  <a:lnTo>
                    <a:pt x="144077" y="13424"/>
                  </a:lnTo>
                  <a:lnTo>
                    <a:pt x="190246" y="23624"/>
                  </a:lnTo>
                  <a:lnTo>
                    <a:pt x="235337" y="36535"/>
                  </a:lnTo>
                  <a:lnTo>
                    <a:pt x="279258" y="52067"/>
                  </a:lnTo>
                  <a:lnTo>
                    <a:pt x="321919" y="70128"/>
                  </a:lnTo>
                  <a:lnTo>
                    <a:pt x="363229" y="90629"/>
                  </a:lnTo>
                  <a:lnTo>
                    <a:pt x="403098" y="113479"/>
                  </a:lnTo>
                  <a:lnTo>
                    <a:pt x="441436" y="138587"/>
                  </a:lnTo>
                  <a:lnTo>
                    <a:pt x="478151" y="165862"/>
                  </a:lnTo>
                  <a:lnTo>
                    <a:pt x="513154" y="195214"/>
                  </a:lnTo>
                  <a:lnTo>
                    <a:pt x="546354" y="226552"/>
                  </a:lnTo>
                  <a:lnTo>
                    <a:pt x="577659" y="259785"/>
                  </a:lnTo>
                  <a:lnTo>
                    <a:pt x="606981" y="294823"/>
                  </a:lnTo>
                  <a:lnTo>
                    <a:pt x="634228" y="331575"/>
                  </a:lnTo>
                  <a:lnTo>
                    <a:pt x="659309" y="369951"/>
                  </a:lnTo>
                  <a:lnTo>
                    <a:pt x="682135" y="409859"/>
                  </a:lnTo>
                  <a:lnTo>
                    <a:pt x="702614" y="451210"/>
                  </a:lnTo>
                  <a:lnTo>
                    <a:pt x="720657" y="493912"/>
                  </a:lnTo>
                  <a:lnTo>
                    <a:pt x="736172" y="537875"/>
                  </a:lnTo>
                  <a:lnTo>
                    <a:pt x="749069" y="583008"/>
                  </a:lnTo>
                  <a:lnTo>
                    <a:pt x="759257" y="629221"/>
                  </a:lnTo>
                  <a:lnTo>
                    <a:pt x="766647" y="676422"/>
                  </a:lnTo>
                  <a:lnTo>
                    <a:pt x="771147" y="724522"/>
                  </a:lnTo>
                  <a:lnTo>
                    <a:pt x="772668" y="773430"/>
                  </a:lnTo>
                  <a:lnTo>
                    <a:pt x="770853" y="826453"/>
                  </a:lnTo>
                  <a:lnTo>
                    <a:pt x="765433" y="879103"/>
                  </a:lnTo>
                  <a:lnTo>
                    <a:pt x="756443" y="931195"/>
                  </a:lnTo>
                  <a:lnTo>
                    <a:pt x="743918" y="982547"/>
                  </a:lnTo>
                  <a:lnTo>
                    <a:pt x="727894" y="1032974"/>
                  </a:lnTo>
                  <a:lnTo>
                    <a:pt x="708406" y="1082294"/>
                  </a:lnTo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91" name="object 40">
              <a:extLst>
                <a:ext uri="{FF2B5EF4-FFF2-40B4-BE49-F238E27FC236}">
                  <a16:creationId xmlns:a16="http://schemas.microsoft.com/office/drawing/2014/main" id="{4DBBCE1E-3C11-4823-888B-2A2A37A63886}"/>
                </a:ext>
              </a:extLst>
            </p:cNvPr>
            <p:cNvSpPr/>
            <p:nvPr/>
          </p:nvSpPr>
          <p:spPr>
            <a:xfrm>
              <a:off x="3547109" y="2032254"/>
              <a:ext cx="1130935" cy="1130935"/>
            </a:xfrm>
            <a:custGeom>
              <a:avLst/>
              <a:gdLst/>
              <a:ahLst/>
              <a:cxnLst/>
              <a:rect l="l" t="t" r="r" b="b"/>
              <a:pathLst>
                <a:path w="1130935" h="1130935">
                  <a:moveTo>
                    <a:pt x="565403" y="0"/>
                  </a:moveTo>
                  <a:lnTo>
                    <a:pt x="516614" y="2075"/>
                  </a:lnTo>
                  <a:lnTo>
                    <a:pt x="468978" y="8187"/>
                  </a:lnTo>
                  <a:lnTo>
                    <a:pt x="422665" y="18167"/>
                  </a:lnTo>
                  <a:lnTo>
                    <a:pt x="377844" y="31845"/>
                  </a:lnTo>
                  <a:lnTo>
                    <a:pt x="334686" y="49051"/>
                  </a:lnTo>
                  <a:lnTo>
                    <a:pt x="293360" y="69615"/>
                  </a:lnTo>
                  <a:lnTo>
                    <a:pt x="254034" y="93369"/>
                  </a:lnTo>
                  <a:lnTo>
                    <a:pt x="216881" y="120142"/>
                  </a:lnTo>
                  <a:lnTo>
                    <a:pt x="182067" y="149765"/>
                  </a:lnTo>
                  <a:lnTo>
                    <a:pt x="149765" y="182067"/>
                  </a:lnTo>
                  <a:lnTo>
                    <a:pt x="120142" y="216881"/>
                  </a:lnTo>
                  <a:lnTo>
                    <a:pt x="93369" y="254034"/>
                  </a:lnTo>
                  <a:lnTo>
                    <a:pt x="69615" y="293360"/>
                  </a:lnTo>
                  <a:lnTo>
                    <a:pt x="49051" y="334686"/>
                  </a:lnTo>
                  <a:lnTo>
                    <a:pt x="31845" y="377844"/>
                  </a:lnTo>
                  <a:lnTo>
                    <a:pt x="18167" y="422665"/>
                  </a:lnTo>
                  <a:lnTo>
                    <a:pt x="8187" y="468978"/>
                  </a:lnTo>
                  <a:lnTo>
                    <a:pt x="2075" y="516614"/>
                  </a:lnTo>
                  <a:lnTo>
                    <a:pt x="0" y="565404"/>
                  </a:lnTo>
                  <a:lnTo>
                    <a:pt x="2075" y="614193"/>
                  </a:lnTo>
                  <a:lnTo>
                    <a:pt x="8187" y="661829"/>
                  </a:lnTo>
                  <a:lnTo>
                    <a:pt x="18167" y="708142"/>
                  </a:lnTo>
                  <a:lnTo>
                    <a:pt x="31845" y="752963"/>
                  </a:lnTo>
                  <a:lnTo>
                    <a:pt x="49051" y="796121"/>
                  </a:lnTo>
                  <a:lnTo>
                    <a:pt x="69615" y="837447"/>
                  </a:lnTo>
                  <a:lnTo>
                    <a:pt x="93369" y="876773"/>
                  </a:lnTo>
                  <a:lnTo>
                    <a:pt x="120142" y="913926"/>
                  </a:lnTo>
                  <a:lnTo>
                    <a:pt x="149765" y="948740"/>
                  </a:lnTo>
                  <a:lnTo>
                    <a:pt x="182067" y="981042"/>
                  </a:lnTo>
                  <a:lnTo>
                    <a:pt x="216881" y="1010665"/>
                  </a:lnTo>
                  <a:lnTo>
                    <a:pt x="254034" y="1037438"/>
                  </a:lnTo>
                  <a:lnTo>
                    <a:pt x="293360" y="1061192"/>
                  </a:lnTo>
                  <a:lnTo>
                    <a:pt x="334686" y="1081756"/>
                  </a:lnTo>
                  <a:lnTo>
                    <a:pt x="377844" y="1098962"/>
                  </a:lnTo>
                  <a:lnTo>
                    <a:pt x="422665" y="1112640"/>
                  </a:lnTo>
                  <a:lnTo>
                    <a:pt x="468978" y="1122620"/>
                  </a:lnTo>
                  <a:lnTo>
                    <a:pt x="516614" y="1128732"/>
                  </a:lnTo>
                  <a:lnTo>
                    <a:pt x="565403" y="1130808"/>
                  </a:lnTo>
                  <a:lnTo>
                    <a:pt x="614193" y="1128732"/>
                  </a:lnTo>
                  <a:lnTo>
                    <a:pt x="661829" y="1122620"/>
                  </a:lnTo>
                  <a:lnTo>
                    <a:pt x="708142" y="1112640"/>
                  </a:lnTo>
                  <a:lnTo>
                    <a:pt x="752963" y="1098962"/>
                  </a:lnTo>
                  <a:lnTo>
                    <a:pt x="796121" y="1081756"/>
                  </a:lnTo>
                  <a:lnTo>
                    <a:pt x="837447" y="1061192"/>
                  </a:lnTo>
                  <a:lnTo>
                    <a:pt x="876773" y="1037438"/>
                  </a:lnTo>
                  <a:lnTo>
                    <a:pt x="913926" y="1010665"/>
                  </a:lnTo>
                  <a:lnTo>
                    <a:pt x="948740" y="981042"/>
                  </a:lnTo>
                  <a:lnTo>
                    <a:pt x="981042" y="948740"/>
                  </a:lnTo>
                  <a:lnTo>
                    <a:pt x="1010665" y="913926"/>
                  </a:lnTo>
                  <a:lnTo>
                    <a:pt x="1037438" y="876773"/>
                  </a:lnTo>
                  <a:lnTo>
                    <a:pt x="1061192" y="837447"/>
                  </a:lnTo>
                  <a:lnTo>
                    <a:pt x="1081756" y="796121"/>
                  </a:lnTo>
                  <a:lnTo>
                    <a:pt x="1098962" y="752963"/>
                  </a:lnTo>
                  <a:lnTo>
                    <a:pt x="1112640" y="708142"/>
                  </a:lnTo>
                  <a:lnTo>
                    <a:pt x="1122620" y="661829"/>
                  </a:lnTo>
                  <a:lnTo>
                    <a:pt x="1128732" y="614193"/>
                  </a:lnTo>
                  <a:lnTo>
                    <a:pt x="1130807" y="565404"/>
                  </a:lnTo>
                  <a:lnTo>
                    <a:pt x="1128732" y="516614"/>
                  </a:lnTo>
                  <a:lnTo>
                    <a:pt x="1122620" y="468978"/>
                  </a:lnTo>
                  <a:lnTo>
                    <a:pt x="1112640" y="422665"/>
                  </a:lnTo>
                  <a:lnTo>
                    <a:pt x="1098962" y="377844"/>
                  </a:lnTo>
                  <a:lnTo>
                    <a:pt x="1081756" y="334686"/>
                  </a:lnTo>
                  <a:lnTo>
                    <a:pt x="1061192" y="293360"/>
                  </a:lnTo>
                  <a:lnTo>
                    <a:pt x="1037438" y="254034"/>
                  </a:lnTo>
                  <a:lnTo>
                    <a:pt x="1010665" y="216881"/>
                  </a:lnTo>
                  <a:lnTo>
                    <a:pt x="981042" y="182067"/>
                  </a:lnTo>
                  <a:lnTo>
                    <a:pt x="948740" y="149765"/>
                  </a:lnTo>
                  <a:lnTo>
                    <a:pt x="913926" y="120142"/>
                  </a:lnTo>
                  <a:lnTo>
                    <a:pt x="876773" y="93369"/>
                  </a:lnTo>
                  <a:lnTo>
                    <a:pt x="837447" y="69615"/>
                  </a:lnTo>
                  <a:lnTo>
                    <a:pt x="796121" y="49051"/>
                  </a:lnTo>
                  <a:lnTo>
                    <a:pt x="752963" y="31845"/>
                  </a:lnTo>
                  <a:lnTo>
                    <a:pt x="708142" y="18167"/>
                  </a:lnTo>
                  <a:lnTo>
                    <a:pt x="661829" y="8187"/>
                  </a:lnTo>
                  <a:lnTo>
                    <a:pt x="614193" y="2075"/>
                  </a:lnTo>
                  <a:lnTo>
                    <a:pt x="565403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92" name="object 41">
              <a:extLst>
                <a:ext uri="{FF2B5EF4-FFF2-40B4-BE49-F238E27FC236}">
                  <a16:creationId xmlns:a16="http://schemas.microsoft.com/office/drawing/2014/main" id="{6712B16C-ED46-44C3-8FE1-72CC07AE3435}"/>
                </a:ext>
              </a:extLst>
            </p:cNvPr>
            <p:cNvSpPr/>
            <p:nvPr/>
          </p:nvSpPr>
          <p:spPr>
            <a:xfrm>
              <a:off x="3547109" y="2032254"/>
              <a:ext cx="1130935" cy="1130935"/>
            </a:xfrm>
            <a:custGeom>
              <a:avLst/>
              <a:gdLst/>
              <a:ahLst/>
              <a:cxnLst/>
              <a:rect l="l" t="t" r="r" b="b"/>
              <a:pathLst>
                <a:path w="1130935" h="1130935">
                  <a:moveTo>
                    <a:pt x="0" y="565404"/>
                  </a:moveTo>
                  <a:lnTo>
                    <a:pt x="2075" y="516614"/>
                  </a:lnTo>
                  <a:lnTo>
                    <a:pt x="8187" y="468978"/>
                  </a:lnTo>
                  <a:lnTo>
                    <a:pt x="18167" y="422665"/>
                  </a:lnTo>
                  <a:lnTo>
                    <a:pt x="31845" y="377844"/>
                  </a:lnTo>
                  <a:lnTo>
                    <a:pt x="49051" y="334686"/>
                  </a:lnTo>
                  <a:lnTo>
                    <a:pt x="69615" y="293360"/>
                  </a:lnTo>
                  <a:lnTo>
                    <a:pt x="93369" y="254034"/>
                  </a:lnTo>
                  <a:lnTo>
                    <a:pt x="120142" y="216881"/>
                  </a:lnTo>
                  <a:lnTo>
                    <a:pt x="149765" y="182067"/>
                  </a:lnTo>
                  <a:lnTo>
                    <a:pt x="182067" y="149765"/>
                  </a:lnTo>
                  <a:lnTo>
                    <a:pt x="216881" y="120142"/>
                  </a:lnTo>
                  <a:lnTo>
                    <a:pt x="254034" y="93369"/>
                  </a:lnTo>
                  <a:lnTo>
                    <a:pt x="293360" y="69615"/>
                  </a:lnTo>
                  <a:lnTo>
                    <a:pt x="334686" y="49051"/>
                  </a:lnTo>
                  <a:lnTo>
                    <a:pt x="377844" y="31845"/>
                  </a:lnTo>
                  <a:lnTo>
                    <a:pt x="422665" y="18167"/>
                  </a:lnTo>
                  <a:lnTo>
                    <a:pt x="468978" y="8187"/>
                  </a:lnTo>
                  <a:lnTo>
                    <a:pt x="516614" y="2075"/>
                  </a:lnTo>
                  <a:lnTo>
                    <a:pt x="565403" y="0"/>
                  </a:lnTo>
                  <a:lnTo>
                    <a:pt x="614193" y="2075"/>
                  </a:lnTo>
                  <a:lnTo>
                    <a:pt x="661829" y="8187"/>
                  </a:lnTo>
                  <a:lnTo>
                    <a:pt x="708142" y="18167"/>
                  </a:lnTo>
                  <a:lnTo>
                    <a:pt x="752963" y="31845"/>
                  </a:lnTo>
                  <a:lnTo>
                    <a:pt x="796121" y="49051"/>
                  </a:lnTo>
                  <a:lnTo>
                    <a:pt x="837447" y="69615"/>
                  </a:lnTo>
                  <a:lnTo>
                    <a:pt x="876773" y="93369"/>
                  </a:lnTo>
                  <a:lnTo>
                    <a:pt x="913926" y="120142"/>
                  </a:lnTo>
                  <a:lnTo>
                    <a:pt x="948740" y="149765"/>
                  </a:lnTo>
                  <a:lnTo>
                    <a:pt x="981042" y="182067"/>
                  </a:lnTo>
                  <a:lnTo>
                    <a:pt x="1010665" y="216881"/>
                  </a:lnTo>
                  <a:lnTo>
                    <a:pt x="1037438" y="254034"/>
                  </a:lnTo>
                  <a:lnTo>
                    <a:pt x="1061192" y="293360"/>
                  </a:lnTo>
                  <a:lnTo>
                    <a:pt x="1081756" y="334686"/>
                  </a:lnTo>
                  <a:lnTo>
                    <a:pt x="1098962" y="377844"/>
                  </a:lnTo>
                  <a:lnTo>
                    <a:pt x="1112640" y="422665"/>
                  </a:lnTo>
                  <a:lnTo>
                    <a:pt x="1122620" y="468978"/>
                  </a:lnTo>
                  <a:lnTo>
                    <a:pt x="1128732" y="516614"/>
                  </a:lnTo>
                  <a:lnTo>
                    <a:pt x="1130807" y="565404"/>
                  </a:lnTo>
                  <a:lnTo>
                    <a:pt x="1128732" y="614193"/>
                  </a:lnTo>
                  <a:lnTo>
                    <a:pt x="1122620" y="661829"/>
                  </a:lnTo>
                  <a:lnTo>
                    <a:pt x="1112640" y="708142"/>
                  </a:lnTo>
                  <a:lnTo>
                    <a:pt x="1098962" y="752963"/>
                  </a:lnTo>
                  <a:lnTo>
                    <a:pt x="1081756" y="796121"/>
                  </a:lnTo>
                  <a:lnTo>
                    <a:pt x="1061192" y="837447"/>
                  </a:lnTo>
                  <a:lnTo>
                    <a:pt x="1037438" y="876773"/>
                  </a:lnTo>
                  <a:lnTo>
                    <a:pt x="1010665" y="913926"/>
                  </a:lnTo>
                  <a:lnTo>
                    <a:pt x="981042" y="948740"/>
                  </a:lnTo>
                  <a:lnTo>
                    <a:pt x="948740" y="981042"/>
                  </a:lnTo>
                  <a:lnTo>
                    <a:pt x="913926" y="1010665"/>
                  </a:lnTo>
                  <a:lnTo>
                    <a:pt x="876773" y="1037438"/>
                  </a:lnTo>
                  <a:lnTo>
                    <a:pt x="837447" y="1061192"/>
                  </a:lnTo>
                  <a:lnTo>
                    <a:pt x="796121" y="1081756"/>
                  </a:lnTo>
                  <a:lnTo>
                    <a:pt x="752963" y="1098962"/>
                  </a:lnTo>
                  <a:lnTo>
                    <a:pt x="708142" y="1112640"/>
                  </a:lnTo>
                  <a:lnTo>
                    <a:pt x="661829" y="1122620"/>
                  </a:lnTo>
                  <a:lnTo>
                    <a:pt x="614193" y="1128732"/>
                  </a:lnTo>
                  <a:lnTo>
                    <a:pt x="565403" y="1130808"/>
                  </a:lnTo>
                  <a:lnTo>
                    <a:pt x="516614" y="1128732"/>
                  </a:lnTo>
                  <a:lnTo>
                    <a:pt x="468978" y="1122620"/>
                  </a:lnTo>
                  <a:lnTo>
                    <a:pt x="422665" y="1112640"/>
                  </a:lnTo>
                  <a:lnTo>
                    <a:pt x="377844" y="1098962"/>
                  </a:lnTo>
                  <a:lnTo>
                    <a:pt x="334686" y="1081756"/>
                  </a:lnTo>
                  <a:lnTo>
                    <a:pt x="293360" y="1061192"/>
                  </a:lnTo>
                  <a:lnTo>
                    <a:pt x="254034" y="1037438"/>
                  </a:lnTo>
                  <a:lnTo>
                    <a:pt x="216881" y="1010665"/>
                  </a:lnTo>
                  <a:lnTo>
                    <a:pt x="182067" y="981042"/>
                  </a:lnTo>
                  <a:lnTo>
                    <a:pt x="149765" y="948740"/>
                  </a:lnTo>
                  <a:lnTo>
                    <a:pt x="120142" y="913926"/>
                  </a:lnTo>
                  <a:lnTo>
                    <a:pt x="93369" y="876773"/>
                  </a:lnTo>
                  <a:lnTo>
                    <a:pt x="69615" y="837447"/>
                  </a:lnTo>
                  <a:lnTo>
                    <a:pt x="49051" y="796121"/>
                  </a:lnTo>
                  <a:lnTo>
                    <a:pt x="31845" y="752963"/>
                  </a:lnTo>
                  <a:lnTo>
                    <a:pt x="18167" y="708142"/>
                  </a:lnTo>
                  <a:lnTo>
                    <a:pt x="8187" y="661829"/>
                  </a:lnTo>
                  <a:lnTo>
                    <a:pt x="2075" y="614193"/>
                  </a:lnTo>
                  <a:lnTo>
                    <a:pt x="0" y="565404"/>
                  </a:lnTo>
                  <a:close/>
                </a:path>
              </a:pathLst>
            </a:custGeom>
            <a:ln w="19812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13" name="object 65">
            <a:extLst>
              <a:ext uri="{FF2B5EF4-FFF2-40B4-BE49-F238E27FC236}">
                <a16:creationId xmlns:a16="http://schemas.microsoft.com/office/drawing/2014/main" id="{9B3E1D7F-F412-4008-9545-AE870ABE068F}"/>
              </a:ext>
            </a:extLst>
          </p:cNvPr>
          <p:cNvSpPr/>
          <p:nvPr/>
        </p:nvSpPr>
        <p:spPr>
          <a:xfrm rot="941282">
            <a:off x="3919150" y="1707655"/>
            <a:ext cx="747242" cy="188872"/>
          </a:xfrm>
          <a:custGeom>
            <a:avLst/>
            <a:gdLst/>
            <a:ahLst/>
            <a:cxnLst/>
            <a:rect l="l" t="t" r="r" b="b"/>
            <a:pathLst>
              <a:path w="1685289" h="352425">
                <a:moveTo>
                  <a:pt x="1621144" y="306764"/>
                </a:moveTo>
                <a:lnTo>
                  <a:pt x="1602486" y="327913"/>
                </a:lnTo>
                <a:lnTo>
                  <a:pt x="1684782" y="349758"/>
                </a:lnTo>
                <a:lnTo>
                  <a:pt x="1670790" y="315087"/>
                </a:lnTo>
                <a:lnTo>
                  <a:pt x="1631188" y="315087"/>
                </a:lnTo>
                <a:lnTo>
                  <a:pt x="1621144" y="306764"/>
                </a:lnTo>
                <a:close/>
              </a:path>
              <a:path w="1685289" h="352425">
                <a:moveTo>
                  <a:pt x="1633736" y="292491"/>
                </a:moveTo>
                <a:lnTo>
                  <a:pt x="1621144" y="306764"/>
                </a:lnTo>
                <a:lnTo>
                  <a:pt x="1631188" y="315087"/>
                </a:lnTo>
                <a:lnTo>
                  <a:pt x="1643380" y="300482"/>
                </a:lnTo>
                <a:lnTo>
                  <a:pt x="1633736" y="292491"/>
                </a:lnTo>
                <a:close/>
              </a:path>
              <a:path w="1685289" h="352425">
                <a:moveTo>
                  <a:pt x="1652905" y="270763"/>
                </a:moveTo>
                <a:lnTo>
                  <a:pt x="1633736" y="292491"/>
                </a:lnTo>
                <a:lnTo>
                  <a:pt x="1643380" y="300482"/>
                </a:lnTo>
                <a:lnTo>
                  <a:pt x="1631188" y="315087"/>
                </a:lnTo>
                <a:lnTo>
                  <a:pt x="1670790" y="315087"/>
                </a:lnTo>
                <a:lnTo>
                  <a:pt x="1652905" y="270763"/>
                </a:lnTo>
                <a:close/>
              </a:path>
              <a:path w="1685289" h="352425">
                <a:moveTo>
                  <a:pt x="1583689" y="252222"/>
                </a:moveTo>
                <a:lnTo>
                  <a:pt x="1572387" y="267588"/>
                </a:lnTo>
                <a:lnTo>
                  <a:pt x="1585976" y="277622"/>
                </a:lnTo>
                <a:lnTo>
                  <a:pt x="1621144" y="306764"/>
                </a:lnTo>
                <a:lnTo>
                  <a:pt x="1633736" y="292491"/>
                </a:lnTo>
                <a:lnTo>
                  <a:pt x="1598168" y="263017"/>
                </a:lnTo>
                <a:lnTo>
                  <a:pt x="1583689" y="252222"/>
                </a:lnTo>
                <a:close/>
              </a:path>
              <a:path w="1685289" h="352425">
                <a:moveTo>
                  <a:pt x="1472311" y="177292"/>
                </a:moveTo>
                <a:lnTo>
                  <a:pt x="1462532" y="193675"/>
                </a:lnTo>
                <a:lnTo>
                  <a:pt x="1488567" y="209296"/>
                </a:lnTo>
                <a:lnTo>
                  <a:pt x="1526286" y="234442"/>
                </a:lnTo>
                <a:lnTo>
                  <a:pt x="1536954" y="218694"/>
                </a:lnTo>
                <a:lnTo>
                  <a:pt x="1499108" y="193421"/>
                </a:lnTo>
                <a:lnTo>
                  <a:pt x="1472311" y="177292"/>
                </a:lnTo>
                <a:close/>
              </a:path>
              <a:path w="1685289" h="352425">
                <a:moveTo>
                  <a:pt x="1353693" y="114553"/>
                </a:moveTo>
                <a:lnTo>
                  <a:pt x="1345564" y="131825"/>
                </a:lnTo>
                <a:lnTo>
                  <a:pt x="1386586" y="151384"/>
                </a:lnTo>
                <a:lnTo>
                  <a:pt x="1413256" y="165608"/>
                </a:lnTo>
                <a:lnTo>
                  <a:pt x="1422273" y="148844"/>
                </a:lnTo>
                <a:lnTo>
                  <a:pt x="1395602" y="134493"/>
                </a:lnTo>
                <a:lnTo>
                  <a:pt x="1353693" y="114553"/>
                </a:lnTo>
                <a:close/>
              </a:path>
              <a:path w="1685289" h="352425">
                <a:moveTo>
                  <a:pt x="1228725" y="64770"/>
                </a:moveTo>
                <a:lnTo>
                  <a:pt x="1223010" y="82931"/>
                </a:lnTo>
                <a:lnTo>
                  <a:pt x="1226820" y="84200"/>
                </a:lnTo>
                <a:lnTo>
                  <a:pt x="1280922" y="103886"/>
                </a:lnTo>
                <a:lnTo>
                  <a:pt x="1293495" y="109220"/>
                </a:lnTo>
                <a:lnTo>
                  <a:pt x="1300861" y="91694"/>
                </a:lnTo>
                <a:lnTo>
                  <a:pt x="1288288" y="86360"/>
                </a:lnTo>
                <a:lnTo>
                  <a:pt x="1233424" y="66294"/>
                </a:lnTo>
                <a:lnTo>
                  <a:pt x="1228725" y="64770"/>
                </a:lnTo>
                <a:close/>
              </a:path>
              <a:path w="1685289" h="352425">
                <a:moveTo>
                  <a:pt x="1099312" y="29210"/>
                </a:moveTo>
                <a:lnTo>
                  <a:pt x="1095375" y="47751"/>
                </a:lnTo>
                <a:lnTo>
                  <a:pt x="1116965" y="52450"/>
                </a:lnTo>
                <a:lnTo>
                  <a:pt x="1168781" y="66039"/>
                </a:lnTo>
                <a:lnTo>
                  <a:pt x="1173734" y="47625"/>
                </a:lnTo>
                <a:lnTo>
                  <a:pt x="1121918" y="34036"/>
                </a:lnTo>
                <a:lnTo>
                  <a:pt x="1099312" y="29210"/>
                </a:lnTo>
                <a:close/>
              </a:path>
              <a:path w="1685289" h="352425">
                <a:moveTo>
                  <a:pt x="966978" y="7365"/>
                </a:moveTo>
                <a:lnTo>
                  <a:pt x="964692" y="26288"/>
                </a:lnTo>
                <a:lnTo>
                  <a:pt x="1005459" y="31114"/>
                </a:lnTo>
                <a:lnTo>
                  <a:pt x="1039749" y="36957"/>
                </a:lnTo>
                <a:lnTo>
                  <a:pt x="1042797" y="18161"/>
                </a:lnTo>
                <a:lnTo>
                  <a:pt x="1008634" y="12446"/>
                </a:lnTo>
                <a:lnTo>
                  <a:pt x="966978" y="7365"/>
                </a:lnTo>
                <a:close/>
              </a:path>
              <a:path w="1685289" h="352425">
                <a:moveTo>
                  <a:pt x="837057" y="0"/>
                </a:moveTo>
                <a:lnTo>
                  <a:pt x="832612" y="0"/>
                </a:lnTo>
                <a:lnTo>
                  <a:pt x="832993" y="19050"/>
                </a:lnTo>
                <a:lnTo>
                  <a:pt x="836549" y="19050"/>
                </a:lnTo>
                <a:lnTo>
                  <a:pt x="892937" y="20447"/>
                </a:lnTo>
                <a:lnTo>
                  <a:pt x="908177" y="21462"/>
                </a:lnTo>
                <a:lnTo>
                  <a:pt x="909574" y="2539"/>
                </a:lnTo>
                <a:lnTo>
                  <a:pt x="894334" y="1397"/>
                </a:lnTo>
                <a:lnTo>
                  <a:pt x="837057" y="0"/>
                </a:lnTo>
                <a:close/>
              </a:path>
              <a:path w="1685289" h="352425">
                <a:moveTo>
                  <a:pt x="774954" y="1397"/>
                </a:moveTo>
                <a:lnTo>
                  <a:pt x="722884" y="4952"/>
                </a:lnTo>
                <a:lnTo>
                  <a:pt x="698627" y="7747"/>
                </a:lnTo>
                <a:lnTo>
                  <a:pt x="700786" y="26670"/>
                </a:lnTo>
                <a:lnTo>
                  <a:pt x="724281" y="24002"/>
                </a:lnTo>
                <a:lnTo>
                  <a:pt x="776224" y="20447"/>
                </a:lnTo>
                <a:lnTo>
                  <a:pt x="774954" y="1397"/>
                </a:lnTo>
                <a:close/>
              </a:path>
              <a:path w="1685289" h="352425">
                <a:moveTo>
                  <a:pt x="641604" y="15494"/>
                </a:moveTo>
                <a:lnTo>
                  <a:pt x="609854" y="20574"/>
                </a:lnTo>
                <a:lnTo>
                  <a:pt x="566293" y="29845"/>
                </a:lnTo>
                <a:lnTo>
                  <a:pt x="570230" y="48513"/>
                </a:lnTo>
                <a:lnTo>
                  <a:pt x="612902" y="39370"/>
                </a:lnTo>
                <a:lnTo>
                  <a:pt x="644652" y="34289"/>
                </a:lnTo>
                <a:lnTo>
                  <a:pt x="641604" y="15494"/>
                </a:lnTo>
                <a:close/>
              </a:path>
              <a:path w="1685289" h="352425">
                <a:moveTo>
                  <a:pt x="510413" y="43814"/>
                </a:moveTo>
                <a:lnTo>
                  <a:pt x="498602" y="46989"/>
                </a:lnTo>
                <a:lnTo>
                  <a:pt x="443992" y="64135"/>
                </a:lnTo>
                <a:lnTo>
                  <a:pt x="436753" y="66801"/>
                </a:lnTo>
                <a:lnTo>
                  <a:pt x="443357" y="84709"/>
                </a:lnTo>
                <a:lnTo>
                  <a:pt x="449707" y="82296"/>
                </a:lnTo>
                <a:lnTo>
                  <a:pt x="503555" y="65405"/>
                </a:lnTo>
                <a:lnTo>
                  <a:pt x="515239" y="62357"/>
                </a:lnTo>
                <a:lnTo>
                  <a:pt x="510413" y="43814"/>
                </a:lnTo>
                <a:close/>
              </a:path>
              <a:path w="1685289" h="352425">
                <a:moveTo>
                  <a:pt x="382905" y="86995"/>
                </a:moveTo>
                <a:lnTo>
                  <a:pt x="337185" y="106425"/>
                </a:lnTo>
                <a:lnTo>
                  <a:pt x="312928" y="118237"/>
                </a:lnTo>
                <a:lnTo>
                  <a:pt x="321183" y="135382"/>
                </a:lnTo>
                <a:lnTo>
                  <a:pt x="344678" y="123951"/>
                </a:lnTo>
                <a:lnTo>
                  <a:pt x="390398" y="104521"/>
                </a:lnTo>
                <a:lnTo>
                  <a:pt x="382905" y="86995"/>
                </a:lnTo>
                <a:close/>
              </a:path>
              <a:path w="1685289" h="352425">
                <a:moveTo>
                  <a:pt x="261620" y="144525"/>
                </a:moveTo>
                <a:lnTo>
                  <a:pt x="234442" y="159385"/>
                </a:lnTo>
                <a:lnTo>
                  <a:pt x="195580" y="183387"/>
                </a:lnTo>
                <a:lnTo>
                  <a:pt x="205486" y="199517"/>
                </a:lnTo>
                <a:lnTo>
                  <a:pt x="243586" y="176149"/>
                </a:lnTo>
                <a:lnTo>
                  <a:pt x="270764" y="161289"/>
                </a:lnTo>
                <a:lnTo>
                  <a:pt x="261620" y="144525"/>
                </a:lnTo>
                <a:close/>
              </a:path>
              <a:path w="1685289" h="352425">
                <a:moveTo>
                  <a:pt x="147574" y="215392"/>
                </a:moveTo>
                <a:lnTo>
                  <a:pt x="136398" y="223138"/>
                </a:lnTo>
                <a:lnTo>
                  <a:pt x="89408" y="258952"/>
                </a:lnTo>
                <a:lnTo>
                  <a:pt x="85979" y="261747"/>
                </a:lnTo>
                <a:lnTo>
                  <a:pt x="98298" y="276225"/>
                </a:lnTo>
                <a:lnTo>
                  <a:pt x="100837" y="274065"/>
                </a:lnTo>
                <a:lnTo>
                  <a:pt x="147193" y="238760"/>
                </a:lnTo>
                <a:lnTo>
                  <a:pt x="158369" y="231139"/>
                </a:lnTo>
                <a:lnTo>
                  <a:pt x="147574" y="215392"/>
                </a:lnTo>
                <a:close/>
              </a:path>
              <a:path w="1685289" h="352425">
                <a:moveTo>
                  <a:pt x="42037" y="299085"/>
                </a:moveTo>
                <a:lnTo>
                  <a:pt x="0" y="338582"/>
                </a:lnTo>
                <a:lnTo>
                  <a:pt x="13081" y="352425"/>
                </a:lnTo>
                <a:lnTo>
                  <a:pt x="55118" y="313055"/>
                </a:lnTo>
                <a:lnTo>
                  <a:pt x="42037" y="299085"/>
                </a:lnTo>
                <a:close/>
              </a:path>
            </a:pathLst>
          </a:custGeom>
          <a:solidFill>
            <a:srgbClr val="A6A6A6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14" name="object 65">
            <a:extLst>
              <a:ext uri="{FF2B5EF4-FFF2-40B4-BE49-F238E27FC236}">
                <a16:creationId xmlns:a16="http://schemas.microsoft.com/office/drawing/2014/main" id="{2A989A70-F8B5-4775-8014-353E99E7A438}"/>
              </a:ext>
            </a:extLst>
          </p:cNvPr>
          <p:cNvSpPr/>
          <p:nvPr/>
        </p:nvSpPr>
        <p:spPr>
          <a:xfrm rot="17973879">
            <a:off x="5311807" y="2892615"/>
            <a:ext cx="682975" cy="134381"/>
          </a:xfrm>
          <a:custGeom>
            <a:avLst/>
            <a:gdLst/>
            <a:ahLst/>
            <a:cxnLst/>
            <a:rect l="l" t="t" r="r" b="b"/>
            <a:pathLst>
              <a:path w="1685289" h="352425">
                <a:moveTo>
                  <a:pt x="1621144" y="306764"/>
                </a:moveTo>
                <a:lnTo>
                  <a:pt x="1602486" y="327913"/>
                </a:lnTo>
                <a:lnTo>
                  <a:pt x="1684782" y="349758"/>
                </a:lnTo>
                <a:lnTo>
                  <a:pt x="1670790" y="315087"/>
                </a:lnTo>
                <a:lnTo>
                  <a:pt x="1631188" y="315087"/>
                </a:lnTo>
                <a:lnTo>
                  <a:pt x="1621144" y="306764"/>
                </a:lnTo>
                <a:close/>
              </a:path>
              <a:path w="1685289" h="352425">
                <a:moveTo>
                  <a:pt x="1633736" y="292491"/>
                </a:moveTo>
                <a:lnTo>
                  <a:pt x="1621144" y="306764"/>
                </a:lnTo>
                <a:lnTo>
                  <a:pt x="1631188" y="315087"/>
                </a:lnTo>
                <a:lnTo>
                  <a:pt x="1643380" y="300482"/>
                </a:lnTo>
                <a:lnTo>
                  <a:pt x="1633736" y="292491"/>
                </a:lnTo>
                <a:close/>
              </a:path>
              <a:path w="1685289" h="352425">
                <a:moveTo>
                  <a:pt x="1652905" y="270763"/>
                </a:moveTo>
                <a:lnTo>
                  <a:pt x="1633736" y="292491"/>
                </a:lnTo>
                <a:lnTo>
                  <a:pt x="1643380" y="300482"/>
                </a:lnTo>
                <a:lnTo>
                  <a:pt x="1631188" y="315087"/>
                </a:lnTo>
                <a:lnTo>
                  <a:pt x="1670790" y="315087"/>
                </a:lnTo>
                <a:lnTo>
                  <a:pt x="1652905" y="270763"/>
                </a:lnTo>
                <a:close/>
              </a:path>
              <a:path w="1685289" h="352425">
                <a:moveTo>
                  <a:pt x="1583689" y="252222"/>
                </a:moveTo>
                <a:lnTo>
                  <a:pt x="1572387" y="267588"/>
                </a:lnTo>
                <a:lnTo>
                  <a:pt x="1585976" y="277622"/>
                </a:lnTo>
                <a:lnTo>
                  <a:pt x="1621144" y="306764"/>
                </a:lnTo>
                <a:lnTo>
                  <a:pt x="1633736" y="292491"/>
                </a:lnTo>
                <a:lnTo>
                  <a:pt x="1598168" y="263017"/>
                </a:lnTo>
                <a:lnTo>
                  <a:pt x="1583689" y="252222"/>
                </a:lnTo>
                <a:close/>
              </a:path>
              <a:path w="1685289" h="352425">
                <a:moveTo>
                  <a:pt x="1472311" y="177292"/>
                </a:moveTo>
                <a:lnTo>
                  <a:pt x="1462532" y="193675"/>
                </a:lnTo>
                <a:lnTo>
                  <a:pt x="1488567" y="209296"/>
                </a:lnTo>
                <a:lnTo>
                  <a:pt x="1526286" y="234442"/>
                </a:lnTo>
                <a:lnTo>
                  <a:pt x="1536954" y="218694"/>
                </a:lnTo>
                <a:lnTo>
                  <a:pt x="1499108" y="193421"/>
                </a:lnTo>
                <a:lnTo>
                  <a:pt x="1472311" y="177292"/>
                </a:lnTo>
                <a:close/>
              </a:path>
              <a:path w="1685289" h="352425">
                <a:moveTo>
                  <a:pt x="1353693" y="114553"/>
                </a:moveTo>
                <a:lnTo>
                  <a:pt x="1345564" y="131825"/>
                </a:lnTo>
                <a:lnTo>
                  <a:pt x="1386586" y="151384"/>
                </a:lnTo>
                <a:lnTo>
                  <a:pt x="1413256" y="165608"/>
                </a:lnTo>
                <a:lnTo>
                  <a:pt x="1422273" y="148844"/>
                </a:lnTo>
                <a:lnTo>
                  <a:pt x="1395602" y="134493"/>
                </a:lnTo>
                <a:lnTo>
                  <a:pt x="1353693" y="114553"/>
                </a:lnTo>
                <a:close/>
              </a:path>
              <a:path w="1685289" h="352425">
                <a:moveTo>
                  <a:pt x="1228725" y="64770"/>
                </a:moveTo>
                <a:lnTo>
                  <a:pt x="1223010" y="82931"/>
                </a:lnTo>
                <a:lnTo>
                  <a:pt x="1226820" y="84200"/>
                </a:lnTo>
                <a:lnTo>
                  <a:pt x="1280922" y="103886"/>
                </a:lnTo>
                <a:lnTo>
                  <a:pt x="1293495" y="109220"/>
                </a:lnTo>
                <a:lnTo>
                  <a:pt x="1300861" y="91694"/>
                </a:lnTo>
                <a:lnTo>
                  <a:pt x="1288288" y="86360"/>
                </a:lnTo>
                <a:lnTo>
                  <a:pt x="1233424" y="66294"/>
                </a:lnTo>
                <a:lnTo>
                  <a:pt x="1228725" y="64770"/>
                </a:lnTo>
                <a:close/>
              </a:path>
              <a:path w="1685289" h="352425">
                <a:moveTo>
                  <a:pt x="1099312" y="29210"/>
                </a:moveTo>
                <a:lnTo>
                  <a:pt x="1095375" y="47751"/>
                </a:lnTo>
                <a:lnTo>
                  <a:pt x="1116965" y="52450"/>
                </a:lnTo>
                <a:lnTo>
                  <a:pt x="1168781" y="66039"/>
                </a:lnTo>
                <a:lnTo>
                  <a:pt x="1173734" y="47625"/>
                </a:lnTo>
                <a:lnTo>
                  <a:pt x="1121918" y="34036"/>
                </a:lnTo>
                <a:lnTo>
                  <a:pt x="1099312" y="29210"/>
                </a:lnTo>
                <a:close/>
              </a:path>
              <a:path w="1685289" h="352425">
                <a:moveTo>
                  <a:pt x="966978" y="7365"/>
                </a:moveTo>
                <a:lnTo>
                  <a:pt x="964692" y="26288"/>
                </a:lnTo>
                <a:lnTo>
                  <a:pt x="1005459" y="31114"/>
                </a:lnTo>
                <a:lnTo>
                  <a:pt x="1039749" y="36957"/>
                </a:lnTo>
                <a:lnTo>
                  <a:pt x="1042797" y="18161"/>
                </a:lnTo>
                <a:lnTo>
                  <a:pt x="1008634" y="12446"/>
                </a:lnTo>
                <a:lnTo>
                  <a:pt x="966978" y="7365"/>
                </a:lnTo>
                <a:close/>
              </a:path>
              <a:path w="1685289" h="352425">
                <a:moveTo>
                  <a:pt x="837057" y="0"/>
                </a:moveTo>
                <a:lnTo>
                  <a:pt x="832612" y="0"/>
                </a:lnTo>
                <a:lnTo>
                  <a:pt x="832993" y="19050"/>
                </a:lnTo>
                <a:lnTo>
                  <a:pt x="836549" y="19050"/>
                </a:lnTo>
                <a:lnTo>
                  <a:pt x="892937" y="20447"/>
                </a:lnTo>
                <a:lnTo>
                  <a:pt x="908177" y="21462"/>
                </a:lnTo>
                <a:lnTo>
                  <a:pt x="909574" y="2539"/>
                </a:lnTo>
                <a:lnTo>
                  <a:pt x="894334" y="1397"/>
                </a:lnTo>
                <a:lnTo>
                  <a:pt x="837057" y="0"/>
                </a:lnTo>
                <a:close/>
              </a:path>
              <a:path w="1685289" h="352425">
                <a:moveTo>
                  <a:pt x="774954" y="1397"/>
                </a:moveTo>
                <a:lnTo>
                  <a:pt x="722884" y="4952"/>
                </a:lnTo>
                <a:lnTo>
                  <a:pt x="698627" y="7747"/>
                </a:lnTo>
                <a:lnTo>
                  <a:pt x="700786" y="26670"/>
                </a:lnTo>
                <a:lnTo>
                  <a:pt x="724281" y="24002"/>
                </a:lnTo>
                <a:lnTo>
                  <a:pt x="776224" y="20447"/>
                </a:lnTo>
                <a:lnTo>
                  <a:pt x="774954" y="1397"/>
                </a:lnTo>
                <a:close/>
              </a:path>
              <a:path w="1685289" h="352425">
                <a:moveTo>
                  <a:pt x="641604" y="15494"/>
                </a:moveTo>
                <a:lnTo>
                  <a:pt x="609854" y="20574"/>
                </a:lnTo>
                <a:lnTo>
                  <a:pt x="566293" y="29845"/>
                </a:lnTo>
                <a:lnTo>
                  <a:pt x="570230" y="48513"/>
                </a:lnTo>
                <a:lnTo>
                  <a:pt x="612902" y="39370"/>
                </a:lnTo>
                <a:lnTo>
                  <a:pt x="644652" y="34289"/>
                </a:lnTo>
                <a:lnTo>
                  <a:pt x="641604" y="15494"/>
                </a:lnTo>
                <a:close/>
              </a:path>
              <a:path w="1685289" h="352425">
                <a:moveTo>
                  <a:pt x="510413" y="43814"/>
                </a:moveTo>
                <a:lnTo>
                  <a:pt x="498602" y="46989"/>
                </a:lnTo>
                <a:lnTo>
                  <a:pt x="443992" y="64135"/>
                </a:lnTo>
                <a:lnTo>
                  <a:pt x="436753" y="66801"/>
                </a:lnTo>
                <a:lnTo>
                  <a:pt x="443357" y="84709"/>
                </a:lnTo>
                <a:lnTo>
                  <a:pt x="449707" y="82296"/>
                </a:lnTo>
                <a:lnTo>
                  <a:pt x="503555" y="65405"/>
                </a:lnTo>
                <a:lnTo>
                  <a:pt x="515239" y="62357"/>
                </a:lnTo>
                <a:lnTo>
                  <a:pt x="510413" y="43814"/>
                </a:lnTo>
                <a:close/>
              </a:path>
              <a:path w="1685289" h="352425">
                <a:moveTo>
                  <a:pt x="382905" y="86995"/>
                </a:moveTo>
                <a:lnTo>
                  <a:pt x="337185" y="106425"/>
                </a:lnTo>
                <a:lnTo>
                  <a:pt x="312928" y="118237"/>
                </a:lnTo>
                <a:lnTo>
                  <a:pt x="321183" y="135382"/>
                </a:lnTo>
                <a:lnTo>
                  <a:pt x="344678" y="123951"/>
                </a:lnTo>
                <a:lnTo>
                  <a:pt x="390398" y="104521"/>
                </a:lnTo>
                <a:lnTo>
                  <a:pt x="382905" y="86995"/>
                </a:lnTo>
                <a:close/>
              </a:path>
              <a:path w="1685289" h="352425">
                <a:moveTo>
                  <a:pt x="261620" y="144525"/>
                </a:moveTo>
                <a:lnTo>
                  <a:pt x="234442" y="159385"/>
                </a:lnTo>
                <a:lnTo>
                  <a:pt x="195580" y="183387"/>
                </a:lnTo>
                <a:lnTo>
                  <a:pt x="205486" y="199517"/>
                </a:lnTo>
                <a:lnTo>
                  <a:pt x="243586" y="176149"/>
                </a:lnTo>
                <a:lnTo>
                  <a:pt x="270764" y="161289"/>
                </a:lnTo>
                <a:lnTo>
                  <a:pt x="261620" y="144525"/>
                </a:lnTo>
                <a:close/>
              </a:path>
              <a:path w="1685289" h="352425">
                <a:moveTo>
                  <a:pt x="147574" y="215392"/>
                </a:moveTo>
                <a:lnTo>
                  <a:pt x="136398" y="223138"/>
                </a:lnTo>
                <a:lnTo>
                  <a:pt x="89408" y="258952"/>
                </a:lnTo>
                <a:lnTo>
                  <a:pt x="85979" y="261747"/>
                </a:lnTo>
                <a:lnTo>
                  <a:pt x="98298" y="276225"/>
                </a:lnTo>
                <a:lnTo>
                  <a:pt x="100837" y="274065"/>
                </a:lnTo>
                <a:lnTo>
                  <a:pt x="147193" y="238760"/>
                </a:lnTo>
                <a:lnTo>
                  <a:pt x="158369" y="231139"/>
                </a:lnTo>
                <a:lnTo>
                  <a:pt x="147574" y="215392"/>
                </a:lnTo>
                <a:close/>
              </a:path>
              <a:path w="1685289" h="352425">
                <a:moveTo>
                  <a:pt x="42037" y="299085"/>
                </a:moveTo>
                <a:lnTo>
                  <a:pt x="0" y="338582"/>
                </a:lnTo>
                <a:lnTo>
                  <a:pt x="13081" y="352425"/>
                </a:lnTo>
                <a:lnTo>
                  <a:pt x="55118" y="313055"/>
                </a:lnTo>
                <a:lnTo>
                  <a:pt x="42037" y="299085"/>
                </a:lnTo>
                <a:close/>
              </a:path>
            </a:pathLst>
          </a:custGeom>
          <a:solidFill>
            <a:srgbClr val="A6A6A6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15" name="object 21">
            <a:extLst>
              <a:ext uri="{FF2B5EF4-FFF2-40B4-BE49-F238E27FC236}">
                <a16:creationId xmlns:a16="http://schemas.microsoft.com/office/drawing/2014/main" id="{AF030378-83F5-4491-B023-BE93771547B9}"/>
              </a:ext>
            </a:extLst>
          </p:cNvPr>
          <p:cNvSpPr txBox="1"/>
          <p:nvPr/>
        </p:nvSpPr>
        <p:spPr>
          <a:xfrm>
            <a:off x="1833273" y="4320712"/>
            <a:ext cx="1697443" cy="4154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pPr marL="12700" marR="5080" lvl="0" indent="635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-1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Mottar</a:t>
            </a:r>
            <a:r>
              <a:rPr kumimoji="0" lang="en-US" sz="900" b="0" i="0" u="none" strike="noStrike" kern="1200" cap="none" spc="-1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 </a:t>
            </a:r>
            <a:r>
              <a:rPr kumimoji="0" lang="en-US" sz="900" b="0" i="0" u="none" strike="noStrike" kern="1200" cap="none" spc="-1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behovsinnmelding</a:t>
            </a:r>
            <a:r>
              <a:rPr kumimoji="0" lang="en-US" sz="900" b="0" i="0" u="none" strike="noStrike" kern="1200" cap="none" spc="-1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 </a:t>
            </a:r>
            <a:r>
              <a:rPr kumimoji="0" lang="en-US" sz="900" b="0" i="0" u="none" strike="noStrike" kern="1200" cap="none" spc="-1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og</a:t>
            </a:r>
            <a:r>
              <a:rPr kumimoji="0" lang="en-US" sz="900" b="0" i="0" u="none" strike="noStrike" kern="1200" cap="none" spc="-1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 </a:t>
            </a:r>
            <a:r>
              <a:rPr kumimoji="0" lang="en-US" sz="900" b="0" i="0" u="none" strike="noStrike" kern="1200" cap="none" spc="-1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oppretter</a:t>
            </a:r>
            <a:r>
              <a:rPr kumimoji="0" lang="en-US" sz="900" b="0" i="0" u="none" strike="noStrike" kern="1200" cap="none" spc="-1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 </a:t>
            </a:r>
            <a:r>
              <a:rPr kumimoji="0" lang="en-US" sz="900" b="0" i="0" u="none" strike="noStrike" kern="1200" cap="none" spc="-1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innkjøpsforespørsel</a:t>
            </a:r>
            <a:r>
              <a:rPr kumimoji="0" lang="en-US" sz="900" b="0" i="0" u="none" strike="noStrike" kern="1200" cap="none" spc="-1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 I Unit4 ERP</a:t>
            </a:r>
          </a:p>
        </p:txBody>
      </p:sp>
      <p:sp>
        <p:nvSpPr>
          <p:cNvPr id="16" name="object 52">
            <a:extLst>
              <a:ext uri="{FF2B5EF4-FFF2-40B4-BE49-F238E27FC236}">
                <a16:creationId xmlns:a16="http://schemas.microsoft.com/office/drawing/2014/main" id="{B2EEC503-D87C-42A2-B0CC-0E156A6BC24E}"/>
              </a:ext>
            </a:extLst>
          </p:cNvPr>
          <p:cNvSpPr txBox="1"/>
          <p:nvPr/>
        </p:nvSpPr>
        <p:spPr>
          <a:xfrm>
            <a:off x="3907532" y="3239142"/>
            <a:ext cx="782447" cy="24770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 lvl="0" indent="0" algn="ctr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-5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Innkjøpsordre</a:t>
            </a:r>
            <a:r>
              <a:rPr kumimoji="0" lang="en-US" sz="900" b="0" i="0" u="none" strike="noStrike" kern="1200" cap="none" spc="-5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 </a:t>
            </a:r>
            <a:r>
              <a:rPr kumimoji="0" lang="en-US" sz="900" b="0" i="0" u="none" strike="noStrike" kern="1200" cap="none" spc="-5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sendes</a:t>
            </a:r>
            <a:endParaRPr kumimoji="0" lang="en-US" sz="900" b="0" i="0" u="none" strike="noStrike" kern="1200" cap="none" spc="-5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Verdana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5CD6C092-4EB0-4390-A68A-DFDB24F244AC}"/>
              </a:ext>
            </a:extLst>
          </p:cNvPr>
          <p:cNvGrpSpPr/>
          <p:nvPr/>
        </p:nvGrpSpPr>
        <p:grpSpPr>
          <a:xfrm>
            <a:off x="4609495" y="2275619"/>
            <a:ext cx="389898" cy="468510"/>
            <a:chOff x="6267547" y="1891446"/>
            <a:chExt cx="692727" cy="768296"/>
          </a:xfrm>
        </p:grpSpPr>
        <p:sp>
          <p:nvSpPr>
            <p:cNvPr id="82" name="object 40">
              <a:extLst>
                <a:ext uri="{FF2B5EF4-FFF2-40B4-BE49-F238E27FC236}">
                  <a16:creationId xmlns:a16="http://schemas.microsoft.com/office/drawing/2014/main" id="{000E4599-A5B0-4B57-999F-F3D73C69EC66}"/>
                </a:ext>
              </a:extLst>
            </p:cNvPr>
            <p:cNvSpPr/>
            <p:nvPr/>
          </p:nvSpPr>
          <p:spPr>
            <a:xfrm>
              <a:off x="6267547" y="1891446"/>
              <a:ext cx="692727" cy="768296"/>
            </a:xfrm>
            <a:prstGeom prst="rect">
              <a:avLst/>
            </a:prstGeom>
            <a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83" name="object 43">
              <a:extLst>
                <a:ext uri="{FF2B5EF4-FFF2-40B4-BE49-F238E27FC236}">
                  <a16:creationId xmlns:a16="http://schemas.microsoft.com/office/drawing/2014/main" id="{214F255A-BBF8-4BF5-85C5-BE27FA4EDFC1}"/>
                </a:ext>
              </a:extLst>
            </p:cNvPr>
            <p:cNvSpPr/>
            <p:nvPr/>
          </p:nvSpPr>
          <p:spPr>
            <a:xfrm>
              <a:off x="6441454" y="2057207"/>
              <a:ext cx="203678" cy="218975"/>
            </a:xfrm>
            <a:prstGeom prst="rect">
              <a:avLst/>
            </a:prstGeom>
            <a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grpSp>
          <p:nvGrpSpPr>
            <p:cNvPr id="84" name="Group 83">
              <a:extLst>
                <a:ext uri="{FF2B5EF4-FFF2-40B4-BE49-F238E27FC236}">
                  <a16:creationId xmlns:a16="http://schemas.microsoft.com/office/drawing/2014/main" id="{E05F06A8-4BFA-42EF-BC2F-97A67BB68BAE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661374" y="2067595"/>
              <a:ext cx="125494" cy="125495"/>
              <a:chOff x="5060951" y="5997575"/>
              <a:chExt cx="247650" cy="247651"/>
            </a:xfrm>
          </p:grpSpPr>
          <p:sp>
            <p:nvSpPr>
              <p:cNvPr id="85" name="Freeform 328">
                <a:extLst>
                  <a:ext uri="{FF2B5EF4-FFF2-40B4-BE49-F238E27FC236}">
                    <a16:creationId xmlns:a16="http://schemas.microsoft.com/office/drawing/2014/main" id="{D8A459A7-71EA-4543-A983-1B1E23916A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3338" y="6189663"/>
                <a:ext cx="55563" cy="55563"/>
              </a:xfrm>
              <a:custGeom>
                <a:avLst/>
                <a:gdLst>
                  <a:gd name="T0" fmla="*/ 36 w 71"/>
                  <a:gd name="T1" fmla="*/ 0 h 71"/>
                  <a:gd name="T2" fmla="*/ 36 w 71"/>
                  <a:gd name="T3" fmla="*/ 0 h 71"/>
                  <a:gd name="T4" fmla="*/ 28 w 71"/>
                  <a:gd name="T5" fmla="*/ 0 h 71"/>
                  <a:gd name="T6" fmla="*/ 21 w 71"/>
                  <a:gd name="T7" fmla="*/ 2 h 71"/>
                  <a:gd name="T8" fmla="*/ 16 w 71"/>
                  <a:gd name="T9" fmla="*/ 5 h 71"/>
                  <a:gd name="T10" fmla="*/ 10 w 71"/>
                  <a:gd name="T11" fmla="*/ 10 h 71"/>
                  <a:gd name="T12" fmla="*/ 5 w 71"/>
                  <a:gd name="T13" fmla="*/ 16 h 71"/>
                  <a:gd name="T14" fmla="*/ 2 w 71"/>
                  <a:gd name="T15" fmla="*/ 21 h 71"/>
                  <a:gd name="T16" fmla="*/ 0 w 71"/>
                  <a:gd name="T17" fmla="*/ 28 h 71"/>
                  <a:gd name="T18" fmla="*/ 0 w 71"/>
                  <a:gd name="T19" fmla="*/ 34 h 71"/>
                  <a:gd name="T20" fmla="*/ 0 w 71"/>
                  <a:gd name="T21" fmla="*/ 34 h 71"/>
                  <a:gd name="T22" fmla="*/ 0 w 71"/>
                  <a:gd name="T23" fmla="*/ 43 h 71"/>
                  <a:gd name="T24" fmla="*/ 2 w 71"/>
                  <a:gd name="T25" fmla="*/ 49 h 71"/>
                  <a:gd name="T26" fmla="*/ 5 w 71"/>
                  <a:gd name="T27" fmla="*/ 55 h 71"/>
                  <a:gd name="T28" fmla="*/ 10 w 71"/>
                  <a:gd name="T29" fmla="*/ 60 h 71"/>
                  <a:gd name="T30" fmla="*/ 16 w 71"/>
                  <a:gd name="T31" fmla="*/ 65 h 71"/>
                  <a:gd name="T32" fmla="*/ 21 w 71"/>
                  <a:gd name="T33" fmla="*/ 68 h 71"/>
                  <a:gd name="T34" fmla="*/ 28 w 71"/>
                  <a:gd name="T35" fmla="*/ 71 h 71"/>
                  <a:gd name="T36" fmla="*/ 36 w 71"/>
                  <a:gd name="T37" fmla="*/ 71 h 71"/>
                  <a:gd name="T38" fmla="*/ 36 w 71"/>
                  <a:gd name="T39" fmla="*/ 71 h 71"/>
                  <a:gd name="T40" fmla="*/ 43 w 71"/>
                  <a:gd name="T41" fmla="*/ 71 h 71"/>
                  <a:gd name="T42" fmla="*/ 49 w 71"/>
                  <a:gd name="T43" fmla="*/ 68 h 71"/>
                  <a:gd name="T44" fmla="*/ 56 w 71"/>
                  <a:gd name="T45" fmla="*/ 65 h 71"/>
                  <a:gd name="T46" fmla="*/ 60 w 71"/>
                  <a:gd name="T47" fmla="*/ 60 h 71"/>
                  <a:gd name="T48" fmla="*/ 65 w 71"/>
                  <a:gd name="T49" fmla="*/ 55 h 71"/>
                  <a:gd name="T50" fmla="*/ 68 w 71"/>
                  <a:gd name="T51" fmla="*/ 49 h 71"/>
                  <a:gd name="T52" fmla="*/ 71 w 71"/>
                  <a:gd name="T53" fmla="*/ 43 h 71"/>
                  <a:gd name="T54" fmla="*/ 71 w 71"/>
                  <a:gd name="T55" fmla="*/ 34 h 71"/>
                  <a:gd name="T56" fmla="*/ 71 w 71"/>
                  <a:gd name="T57" fmla="*/ 34 h 71"/>
                  <a:gd name="T58" fmla="*/ 71 w 71"/>
                  <a:gd name="T59" fmla="*/ 28 h 71"/>
                  <a:gd name="T60" fmla="*/ 68 w 71"/>
                  <a:gd name="T61" fmla="*/ 21 h 71"/>
                  <a:gd name="T62" fmla="*/ 65 w 71"/>
                  <a:gd name="T63" fmla="*/ 16 h 71"/>
                  <a:gd name="T64" fmla="*/ 60 w 71"/>
                  <a:gd name="T65" fmla="*/ 10 h 71"/>
                  <a:gd name="T66" fmla="*/ 56 w 71"/>
                  <a:gd name="T67" fmla="*/ 5 h 71"/>
                  <a:gd name="T68" fmla="*/ 49 w 71"/>
                  <a:gd name="T69" fmla="*/ 2 h 71"/>
                  <a:gd name="T70" fmla="*/ 43 w 71"/>
                  <a:gd name="T71" fmla="*/ 0 h 71"/>
                  <a:gd name="T72" fmla="*/ 36 w 71"/>
                  <a:gd name="T73" fmla="*/ 0 h 71"/>
                  <a:gd name="T74" fmla="*/ 36 w 71"/>
                  <a:gd name="T75" fmla="*/ 0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1" h="71">
                    <a:moveTo>
                      <a:pt x="36" y="0"/>
                    </a:moveTo>
                    <a:lnTo>
                      <a:pt x="36" y="0"/>
                    </a:lnTo>
                    <a:lnTo>
                      <a:pt x="28" y="0"/>
                    </a:lnTo>
                    <a:lnTo>
                      <a:pt x="21" y="2"/>
                    </a:lnTo>
                    <a:lnTo>
                      <a:pt x="16" y="5"/>
                    </a:lnTo>
                    <a:lnTo>
                      <a:pt x="10" y="10"/>
                    </a:lnTo>
                    <a:lnTo>
                      <a:pt x="5" y="16"/>
                    </a:lnTo>
                    <a:lnTo>
                      <a:pt x="2" y="21"/>
                    </a:lnTo>
                    <a:lnTo>
                      <a:pt x="0" y="28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43"/>
                    </a:lnTo>
                    <a:lnTo>
                      <a:pt x="2" y="49"/>
                    </a:lnTo>
                    <a:lnTo>
                      <a:pt x="5" y="55"/>
                    </a:lnTo>
                    <a:lnTo>
                      <a:pt x="10" y="60"/>
                    </a:lnTo>
                    <a:lnTo>
                      <a:pt x="16" y="65"/>
                    </a:lnTo>
                    <a:lnTo>
                      <a:pt x="21" y="68"/>
                    </a:lnTo>
                    <a:lnTo>
                      <a:pt x="28" y="71"/>
                    </a:lnTo>
                    <a:lnTo>
                      <a:pt x="36" y="71"/>
                    </a:lnTo>
                    <a:lnTo>
                      <a:pt x="36" y="71"/>
                    </a:lnTo>
                    <a:lnTo>
                      <a:pt x="43" y="71"/>
                    </a:lnTo>
                    <a:lnTo>
                      <a:pt x="49" y="68"/>
                    </a:lnTo>
                    <a:lnTo>
                      <a:pt x="56" y="65"/>
                    </a:lnTo>
                    <a:lnTo>
                      <a:pt x="60" y="60"/>
                    </a:lnTo>
                    <a:lnTo>
                      <a:pt x="65" y="55"/>
                    </a:lnTo>
                    <a:lnTo>
                      <a:pt x="68" y="49"/>
                    </a:lnTo>
                    <a:lnTo>
                      <a:pt x="71" y="43"/>
                    </a:lnTo>
                    <a:lnTo>
                      <a:pt x="71" y="34"/>
                    </a:lnTo>
                    <a:lnTo>
                      <a:pt x="71" y="34"/>
                    </a:lnTo>
                    <a:lnTo>
                      <a:pt x="71" y="28"/>
                    </a:lnTo>
                    <a:lnTo>
                      <a:pt x="68" y="21"/>
                    </a:lnTo>
                    <a:lnTo>
                      <a:pt x="65" y="16"/>
                    </a:lnTo>
                    <a:lnTo>
                      <a:pt x="60" y="10"/>
                    </a:lnTo>
                    <a:lnTo>
                      <a:pt x="56" y="5"/>
                    </a:lnTo>
                    <a:lnTo>
                      <a:pt x="49" y="2"/>
                    </a:lnTo>
                    <a:lnTo>
                      <a:pt x="43" y="0"/>
                    </a:lnTo>
                    <a:lnTo>
                      <a:pt x="36" y="0"/>
                    </a:lnTo>
                    <a:lnTo>
                      <a:pt x="36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C5C5C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86" name="Freeform 329">
                <a:extLst>
                  <a:ext uri="{FF2B5EF4-FFF2-40B4-BE49-F238E27FC236}">
                    <a16:creationId xmlns:a16="http://schemas.microsoft.com/office/drawing/2014/main" id="{E2D77E4D-8D0D-4143-9D95-AC473A58A6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43513" y="6189663"/>
                <a:ext cx="58738" cy="55563"/>
              </a:xfrm>
              <a:custGeom>
                <a:avLst/>
                <a:gdLst>
                  <a:gd name="T0" fmla="*/ 36 w 72"/>
                  <a:gd name="T1" fmla="*/ 0 h 71"/>
                  <a:gd name="T2" fmla="*/ 36 w 72"/>
                  <a:gd name="T3" fmla="*/ 0 h 71"/>
                  <a:gd name="T4" fmla="*/ 29 w 72"/>
                  <a:gd name="T5" fmla="*/ 0 h 71"/>
                  <a:gd name="T6" fmla="*/ 23 w 72"/>
                  <a:gd name="T7" fmla="*/ 2 h 71"/>
                  <a:gd name="T8" fmla="*/ 16 w 72"/>
                  <a:gd name="T9" fmla="*/ 5 h 71"/>
                  <a:gd name="T10" fmla="*/ 11 w 72"/>
                  <a:gd name="T11" fmla="*/ 10 h 71"/>
                  <a:gd name="T12" fmla="*/ 6 w 72"/>
                  <a:gd name="T13" fmla="*/ 16 h 71"/>
                  <a:gd name="T14" fmla="*/ 4 w 72"/>
                  <a:gd name="T15" fmla="*/ 21 h 71"/>
                  <a:gd name="T16" fmla="*/ 1 w 72"/>
                  <a:gd name="T17" fmla="*/ 28 h 71"/>
                  <a:gd name="T18" fmla="*/ 0 w 72"/>
                  <a:gd name="T19" fmla="*/ 34 h 71"/>
                  <a:gd name="T20" fmla="*/ 0 w 72"/>
                  <a:gd name="T21" fmla="*/ 34 h 71"/>
                  <a:gd name="T22" fmla="*/ 1 w 72"/>
                  <a:gd name="T23" fmla="*/ 43 h 71"/>
                  <a:gd name="T24" fmla="*/ 4 w 72"/>
                  <a:gd name="T25" fmla="*/ 49 h 71"/>
                  <a:gd name="T26" fmla="*/ 6 w 72"/>
                  <a:gd name="T27" fmla="*/ 55 h 71"/>
                  <a:gd name="T28" fmla="*/ 11 w 72"/>
                  <a:gd name="T29" fmla="*/ 60 h 71"/>
                  <a:gd name="T30" fmla="*/ 16 w 72"/>
                  <a:gd name="T31" fmla="*/ 65 h 71"/>
                  <a:gd name="T32" fmla="*/ 23 w 72"/>
                  <a:gd name="T33" fmla="*/ 68 h 71"/>
                  <a:gd name="T34" fmla="*/ 29 w 72"/>
                  <a:gd name="T35" fmla="*/ 71 h 71"/>
                  <a:gd name="T36" fmla="*/ 36 w 72"/>
                  <a:gd name="T37" fmla="*/ 71 h 71"/>
                  <a:gd name="T38" fmla="*/ 36 w 72"/>
                  <a:gd name="T39" fmla="*/ 71 h 71"/>
                  <a:gd name="T40" fmla="*/ 44 w 72"/>
                  <a:gd name="T41" fmla="*/ 71 h 71"/>
                  <a:gd name="T42" fmla="*/ 51 w 72"/>
                  <a:gd name="T43" fmla="*/ 68 h 71"/>
                  <a:gd name="T44" fmla="*/ 56 w 72"/>
                  <a:gd name="T45" fmla="*/ 65 h 71"/>
                  <a:gd name="T46" fmla="*/ 62 w 72"/>
                  <a:gd name="T47" fmla="*/ 60 h 71"/>
                  <a:gd name="T48" fmla="*/ 66 w 72"/>
                  <a:gd name="T49" fmla="*/ 55 h 71"/>
                  <a:gd name="T50" fmla="*/ 70 w 72"/>
                  <a:gd name="T51" fmla="*/ 49 h 71"/>
                  <a:gd name="T52" fmla="*/ 71 w 72"/>
                  <a:gd name="T53" fmla="*/ 43 h 71"/>
                  <a:gd name="T54" fmla="*/ 72 w 72"/>
                  <a:gd name="T55" fmla="*/ 34 h 71"/>
                  <a:gd name="T56" fmla="*/ 72 w 72"/>
                  <a:gd name="T57" fmla="*/ 34 h 71"/>
                  <a:gd name="T58" fmla="*/ 71 w 72"/>
                  <a:gd name="T59" fmla="*/ 28 h 71"/>
                  <a:gd name="T60" fmla="*/ 70 w 72"/>
                  <a:gd name="T61" fmla="*/ 21 h 71"/>
                  <a:gd name="T62" fmla="*/ 66 w 72"/>
                  <a:gd name="T63" fmla="*/ 16 h 71"/>
                  <a:gd name="T64" fmla="*/ 62 w 72"/>
                  <a:gd name="T65" fmla="*/ 10 h 71"/>
                  <a:gd name="T66" fmla="*/ 56 w 72"/>
                  <a:gd name="T67" fmla="*/ 5 h 71"/>
                  <a:gd name="T68" fmla="*/ 51 w 72"/>
                  <a:gd name="T69" fmla="*/ 2 h 71"/>
                  <a:gd name="T70" fmla="*/ 44 w 72"/>
                  <a:gd name="T71" fmla="*/ 0 h 71"/>
                  <a:gd name="T72" fmla="*/ 36 w 72"/>
                  <a:gd name="T73" fmla="*/ 0 h 71"/>
                  <a:gd name="T74" fmla="*/ 36 w 72"/>
                  <a:gd name="T75" fmla="*/ 0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2" h="71">
                    <a:moveTo>
                      <a:pt x="36" y="0"/>
                    </a:moveTo>
                    <a:lnTo>
                      <a:pt x="36" y="0"/>
                    </a:lnTo>
                    <a:lnTo>
                      <a:pt x="29" y="0"/>
                    </a:lnTo>
                    <a:lnTo>
                      <a:pt x="23" y="2"/>
                    </a:lnTo>
                    <a:lnTo>
                      <a:pt x="16" y="5"/>
                    </a:lnTo>
                    <a:lnTo>
                      <a:pt x="11" y="10"/>
                    </a:lnTo>
                    <a:lnTo>
                      <a:pt x="6" y="16"/>
                    </a:lnTo>
                    <a:lnTo>
                      <a:pt x="4" y="21"/>
                    </a:lnTo>
                    <a:lnTo>
                      <a:pt x="1" y="28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1" y="43"/>
                    </a:lnTo>
                    <a:lnTo>
                      <a:pt x="4" y="49"/>
                    </a:lnTo>
                    <a:lnTo>
                      <a:pt x="6" y="55"/>
                    </a:lnTo>
                    <a:lnTo>
                      <a:pt x="11" y="60"/>
                    </a:lnTo>
                    <a:lnTo>
                      <a:pt x="16" y="65"/>
                    </a:lnTo>
                    <a:lnTo>
                      <a:pt x="23" y="68"/>
                    </a:lnTo>
                    <a:lnTo>
                      <a:pt x="29" y="71"/>
                    </a:lnTo>
                    <a:lnTo>
                      <a:pt x="36" y="71"/>
                    </a:lnTo>
                    <a:lnTo>
                      <a:pt x="36" y="71"/>
                    </a:lnTo>
                    <a:lnTo>
                      <a:pt x="44" y="71"/>
                    </a:lnTo>
                    <a:lnTo>
                      <a:pt x="51" y="68"/>
                    </a:lnTo>
                    <a:lnTo>
                      <a:pt x="56" y="65"/>
                    </a:lnTo>
                    <a:lnTo>
                      <a:pt x="62" y="60"/>
                    </a:lnTo>
                    <a:lnTo>
                      <a:pt x="66" y="55"/>
                    </a:lnTo>
                    <a:lnTo>
                      <a:pt x="70" y="49"/>
                    </a:lnTo>
                    <a:lnTo>
                      <a:pt x="71" y="43"/>
                    </a:lnTo>
                    <a:lnTo>
                      <a:pt x="72" y="34"/>
                    </a:lnTo>
                    <a:lnTo>
                      <a:pt x="72" y="34"/>
                    </a:lnTo>
                    <a:lnTo>
                      <a:pt x="71" y="28"/>
                    </a:lnTo>
                    <a:lnTo>
                      <a:pt x="70" y="21"/>
                    </a:lnTo>
                    <a:lnTo>
                      <a:pt x="66" y="16"/>
                    </a:lnTo>
                    <a:lnTo>
                      <a:pt x="62" y="10"/>
                    </a:lnTo>
                    <a:lnTo>
                      <a:pt x="56" y="5"/>
                    </a:lnTo>
                    <a:lnTo>
                      <a:pt x="51" y="2"/>
                    </a:lnTo>
                    <a:lnTo>
                      <a:pt x="44" y="0"/>
                    </a:lnTo>
                    <a:lnTo>
                      <a:pt x="36" y="0"/>
                    </a:lnTo>
                    <a:lnTo>
                      <a:pt x="36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C5C5C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87" name="Freeform 330">
                <a:extLst>
                  <a:ext uri="{FF2B5EF4-FFF2-40B4-BE49-F238E27FC236}">
                    <a16:creationId xmlns:a16="http://schemas.microsoft.com/office/drawing/2014/main" id="{8822C16A-92DA-4DBA-BB4D-F35799CC26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0951" y="5997575"/>
                <a:ext cx="247650" cy="176213"/>
              </a:xfrm>
              <a:custGeom>
                <a:avLst/>
                <a:gdLst>
                  <a:gd name="T0" fmla="*/ 307 w 311"/>
                  <a:gd name="T1" fmla="*/ 63 h 223"/>
                  <a:gd name="T2" fmla="*/ 307 w 311"/>
                  <a:gd name="T3" fmla="*/ 63 h 223"/>
                  <a:gd name="T4" fmla="*/ 303 w 311"/>
                  <a:gd name="T5" fmla="*/ 59 h 223"/>
                  <a:gd name="T6" fmla="*/ 297 w 311"/>
                  <a:gd name="T7" fmla="*/ 58 h 223"/>
                  <a:gd name="T8" fmla="*/ 111 w 311"/>
                  <a:gd name="T9" fmla="*/ 58 h 223"/>
                  <a:gd name="T10" fmla="*/ 111 w 311"/>
                  <a:gd name="T11" fmla="*/ 58 h 223"/>
                  <a:gd name="T12" fmla="*/ 106 w 311"/>
                  <a:gd name="T13" fmla="*/ 59 h 223"/>
                  <a:gd name="T14" fmla="*/ 100 w 311"/>
                  <a:gd name="T15" fmla="*/ 62 h 223"/>
                  <a:gd name="T16" fmla="*/ 98 w 311"/>
                  <a:gd name="T17" fmla="*/ 67 h 223"/>
                  <a:gd name="T18" fmla="*/ 96 w 311"/>
                  <a:gd name="T19" fmla="*/ 72 h 223"/>
                  <a:gd name="T20" fmla="*/ 96 w 311"/>
                  <a:gd name="T21" fmla="*/ 72 h 223"/>
                  <a:gd name="T22" fmla="*/ 98 w 311"/>
                  <a:gd name="T23" fmla="*/ 78 h 223"/>
                  <a:gd name="T24" fmla="*/ 100 w 311"/>
                  <a:gd name="T25" fmla="*/ 82 h 223"/>
                  <a:gd name="T26" fmla="*/ 106 w 311"/>
                  <a:gd name="T27" fmla="*/ 86 h 223"/>
                  <a:gd name="T28" fmla="*/ 111 w 311"/>
                  <a:gd name="T29" fmla="*/ 86 h 223"/>
                  <a:gd name="T30" fmla="*/ 279 w 311"/>
                  <a:gd name="T31" fmla="*/ 86 h 223"/>
                  <a:gd name="T32" fmla="*/ 256 w 311"/>
                  <a:gd name="T33" fmla="*/ 195 h 223"/>
                  <a:gd name="T34" fmla="*/ 103 w 311"/>
                  <a:gd name="T35" fmla="*/ 195 h 223"/>
                  <a:gd name="T36" fmla="*/ 67 w 311"/>
                  <a:gd name="T37" fmla="*/ 11 h 223"/>
                  <a:gd name="T38" fmla="*/ 67 w 311"/>
                  <a:gd name="T39" fmla="*/ 11 h 223"/>
                  <a:gd name="T40" fmla="*/ 64 w 311"/>
                  <a:gd name="T41" fmla="*/ 7 h 223"/>
                  <a:gd name="T42" fmla="*/ 62 w 311"/>
                  <a:gd name="T43" fmla="*/ 2 h 223"/>
                  <a:gd name="T44" fmla="*/ 58 w 311"/>
                  <a:gd name="T45" fmla="*/ 0 h 223"/>
                  <a:gd name="T46" fmla="*/ 52 w 311"/>
                  <a:gd name="T47" fmla="*/ 0 h 223"/>
                  <a:gd name="T48" fmla="*/ 13 w 311"/>
                  <a:gd name="T49" fmla="*/ 0 h 223"/>
                  <a:gd name="T50" fmla="*/ 13 w 311"/>
                  <a:gd name="T51" fmla="*/ 0 h 223"/>
                  <a:gd name="T52" fmla="*/ 8 w 311"/>
                  <a:gd name="T53" fmla="*/ 0 h 223"/>
                  <a:gd name="T54" fmla="*/ 4 w 311"/>
                  <a:gd name="T55" fmla="*/ 4 h 223"/>
                  <a:gd name="T56" fmla="*/ 0 w 311"/>
                  <a:gd name="T57" fmla="*/ 8 h 223"/>
                  <a:gd name="T58" fmla="*/ 0 w 311"/>
                  <a:gd name="T59" fmla="*/ 13 h 223"/>
                  <a:gd name="T60" fmla="*/ 0 w 311"/>
                  <a:gd name="T61" fmla="*/ 13 h 223"/>
                  <a:gd name="T62" fmla="*/ 0 w 311"/>
                  <a:gd name="T63" fmla="*/ 19 h 223"/>
                  <a:gd name="T64" fmla="*/ 4 w 311"/>
                  <a:gd name="T65" fmla="*/ 24 h 223"/>
                  <a:gd name="T66" fmla="*/ 8 w 311"/>
                  <a:gd name="T67" fmla="*/ 27 h 223"/>
                  <a:gd name="T68" fmla="*/ 13 w 311"/>
                  <a:gd name="T69" fmla="*/ 28 h 223"/>
                  <a:gd name="T70" fmla="*/ 41 w 311"/>
                  <a:gd name="T71" fmla="*/ 28 h 223"/>
                  <a:gd name="T72" fmla="*/ 78 w 311"/>
                  <a:gd name="T73" fmla="*/ 212 h 223"/>
                  <a:gd name="T74" fmla="*/ 78 w 311"/>
                  <a:gd name="T75" fmla="*/ 212 h 223"/>
                  <a:gd name="T76" fmla="*/ 79 w 311"/>
                  <a:gd name="T77" fmla="*/ 216 h 223"/>
                  <a:gd name="T78" fmla="*/ 83 w 311"/>
                  <a:gd name="T79" fmla="*/ 220 h 223"/>
                  <a:gd name="T80" fmla="*/ 87 w 311"/>
                  <a:gd name="T81" fmla="*/ 223 h 223"/>
                  <a:gd name="T82" fmla="*/ 91 w 311"/>
                  <a:gd name="T83" fmla="*/ 223 h 223"/>
                  <a:gd name="T84" fmla="*/ 267 w 311"/>
                  <a:gd name="T85" fmla="*/ 223 h 223"/>
                  <a:gd name="T86" fmla="*/ 267 w 311"/>
                  <a:gd name="T87" fmla="*/ 223 h 223"/>
                  <a:gd name="T88" fmla="*/ 272 w 311"/>
                  <a:gd name="T89" fmla="*/ 223 h 223"/>
                  <a:gd name="T90" fmla="*/ 276 w 311"/>
                  <a:gd name="T91" fmla="*/ 220 h 223"/>
                  <a:gd name="T92" fmla="*/ 279 w 311"/>
                  <a:gd name="T93" fmla="*/ 216 h 223"/>
                  <a:gd name="T94" fmla="*/ 282 w 311"/>
                  <a:gd name="T95" fmla="*/ 212 h 223"/>
                  <a:gd name="T96" fmla="*/ 310 w 311"/>
                  <a:gd name="T97" fmla="*/ 75 h 223"/>
                  <a:gd name="T98" fmla="*/ 310 w 311"/>
                  <a:gd name="T99" fmla="*/ 75 h 223"/>
                  <a:gd name="T100" fmla="*/ 311 w 311"/>
                  <a:gd name="T101" fmla="*/ 72 h 223"/>
                  <a:gd name="T102" fmla="*/ 310 w 311"/>
                  <a:gd name="T103" fmla="*/ 70 h 223"/>
                  <a:gd name="T104" fmla="*/ 310 w 311"/>
                  <a:gd name="T105" fmla="*/ 66 h 223"/>
                  <a:gd name="T106" fmla="*/ 307 w 311"/>
                  <a:gd name="T107" fmla="*/ 63 h 223"/>
                  <a:gd name="T108" fmla="*/ 307 w 311"/>
                  <a:gd name="T109" fmla="*/ 63 h 2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311" h="223">
                    <a:moveTo>
                      <a:pt x="307" y="63"/>
                    </a:moveTo>
                    <a:lnTo>
                      <a:pt x="307" y="63"/>
                    </a:lnTo>
                    <a:lnTo>
                      <a:pt x="303" y="59"/>
                    </a:lnTo>
                    <a:lnTo>
                      <a:pt x="297" y="58"/>
                    </a:lnTo>
                    <a:lnTo>
                      <a:pt x="111" y="58"/>
                    </a:lnTo>
                    <a:lnTo>
                      <a:pt x="111" y="58"/>
                    </a:lnTo>
                    <a:lnTo>
                      <a:pt x="106" y="59"/>
                    </a:lnTo>
                    <a:lnTo>
                      <a:pt x="100" y="62"/>
                    </a:lnTo>
                    <a:lnTo>
                      <a:pt x="98" y="67"/>
                    </a:lnTo>
                    <a:lnTo>
                      <a:pt x="96" y="72"/>
                    </a:lnTo>
                    <a:lnTo>
                      <a:pt x="96" y="72"/>
                    </a:lnTo>
                    <a:lnTo>
                      <a:pt x="98" y="78"/>
                    </a:lnTo>
                    <a:lnTo>
                      <a:pt x="100" y="82"/>
                    </a:lnTo>
                    <a:lnTo>
                      <a:pt x="106" y="86"/>
                    </a:lnTo>
                    <a:lnTo>
                      <a:pt x="111" y="86"/>
                    </a:lnTo>
                    <a:lnTo>
                      <a:pt x="279" y="86"/>
                    </a:lnTo>
                    <a:lnTo>
                      <a:pt x="256" y="195"/>
                    </a:lnTo>
                    <a:lnTo>
                      <a:pt x="103" y="195"/>
                    </a:lnTo>
                    <a:lnTo>
                      <a:pt x="67" y="11"/>
                    </a:lnTo>
                    <a:lnTo>
                      <a:pt x="67" y="11"/>
                    </a:lnTo>
                    <a:lnTo>
                      <a:pt x="64" y="7"/>
                    </a:lnTo>
                    <a:lnTo>
                      <a:pt x="62" y="2"/>
                    </a:lnTo>
                    <a:lnTo>
                      <a:pt x="58" y="0"/>
                    </a:lnTo>
                    <a:lnTo>
                      <a:pt x="52" y="0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0" y="8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9"/>
                    </a:lnTo>
                    <a:lnTo>
                      <a:pt x="4" y="24"/>
                    </a:lnTo>
                    <a:lnTo>
                      <a:pt x="8" y="27"/>
                    </a:lnTo>
                    <a:lnTo>
                      <a:pt x="13" y="28"/>
                    </a:lnTo>
                    <a:lnTo>
                      <a:pt x="41" y="28"/>
                    </a:lnTo>
                    <a:lnTo>
                      <a:pt x="78" y="212"/>
                    </a:lnTo>
                    <a:lnTo>
                      <a:pt x="78" y="212"/>
                    </a:lnTo>
                    <a:lnTo>
                      <a:pt x="79" y="216"/>
                    </a:lnTo>
                    <a:lnTo>
                      <a:pt x="83" y="220"/>
                    </a:lnTo>
                    <a:lnTo>
                      <a:pt x="87" y="223"/>
                    </a:lnTo>
                    <a:lnTo>
                      <a:pt x="91" y="223"/>
                    </a:lnTo>
                    <a:lnTo>
                      <a:pt x="267" y="223"/>
                    </a:lnTo>
                    <a:lnTo>
                      <a:pt x="267" y="223"/>
                    </a:lnTo>
                    <a:lnTo>
                      <a:pt x="272" y="223"/>
                    </a:lnTo>
                    <a:lnTo>
                      <a:pt x="276" y="220"/>
                    </a:lnTo>
                    <a:lnTo>
                      <a:pt x="279" y="216"/>
                    </a:lnTo>
                    <a:lnTo>
                      <a:pt x="282" y="212"/>
                    </a:lnTo>
                    <a:lnTo>
                      <a:pt x="310" y="75"/>
                    </a:lnTo>
                    <a:lnTo>
                      <a:pt x="310" y="75"/>
                    </a:lnTo>
                    <a:lnTo>
                      <a:pt x="311" y="72"/>
                    </a:lnTo>
                    <a:lnTo>
                      <a:pt x="310" y="70"/>
                    </a:lnTo>
                    <a:lnTo>
                      <a:pt x="310" y="66"/>
                    </a:lnTo>
                    <a:lnTo>
                      <a:pt x="307" y="63"/>
                    </a:lnTo>
                    <a:lnTo>
                      <a:pt x="307" y="6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C5C5C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</p:grpSp>
      </p:grpSp>
      <p:sp>
        <p:nvSpPr>
          <p:cNvPr id="18" name="object 65">
            <a:extLst>
              <a:ext uri="{FF2B5EF4-FFF2-40B4-BE49-F238E27FC236}">
                <a16:creationId xmlns:a16="http://schemas.microsoft.com/office/drawing/2014/main" id="{5330D4AD-DCBC-474A-9AF8-2DF87ACB9A34}"/>
              </a:ext>
            </a:extLst>
          </p:cNvPr>
          <p:cNvSpPr/>
          <p:nvPr/>
        </p:nvSpPr>
        <p:spPr>
          <a:xfrm rot="3531892" flipV="1">
            <a:off x="4459691" y="3352793"/>
            <a:ext cx="869192" cy="96676"/>
          </a:xfrm>
          <a:custGeom>
            <a:avLst/>
            <a:gdLst/>
            <a:ahLst/>
            <a:cxnLst/>
            <a:rect l="l" t="t" r="r" b="b"/>
            <a:pathLst>
              <a:path w="1685289" h="352425">
                <a:moveTo>
                  <a:pt x="1621144" y="306764"/>
                </a:moveTo>
                <a:lnTo>
                  <a:pt x="1602486" y="327913"/>
                </a:lnTo>
                <a:lnTo>
                  <a:pt x="1684782" y="349758"/>
                </a:lnTo>
                <a:lnTo>
                  <a:pt x="1670790" y="315087"/>
                </a:lnTo>
                <a:lnTo>
                  <a:pt x="1631188" y="315087"/>
                </a:lnTo>
                <a:lnTo>
                  <a:pt x="1621144" y="306764"/>
                </a:lnTo>
                <a:close/>
              </a:path>
              <a:path w="1685289" h="352425">
                <a:moveTo>
                  <a:pt x="1633736" y="292491"/>
                </a:moveTo>
                <a:lnTo>
                  <a:pt x="1621144" y="306764"/>
                </a:lnTo>
                <a:lnTo>
                  <a:pt x="1631188" y="315087"/>
                </a:lnTo>
                <a:lnTo>
                  <a:pt x="1643380" y="300482"/>
                </a:lnTo>
                <a:lnTo>
                  <a:pt x="1633736" y="292491"/>
                </a:lnTo>
                <a:close/>
              </a:path>
              <a:path w="1685289" h="352425">
                <a:moveTo>
                  <a:pt x="1652905" y="270763"/>
                </a:moveTo>
                <a:lnTo>
                  <a:pt x="1633736" y="292491"/>
                </a:lnTo>
                <a:lnTo>
                  <a:pt x="1643380" y="300482"/>
                </a:lnTo>
                <a:lnTo>
                  <a:pt x="1631188" y="315087"/>
                </a:lnTo>
                <a:lnTo>
                  <a:pt x="1670790" y="315087"/>
                </a:lnTo>
                <a:lnTo>
                  <a:pt x="1652905" y="270763"/>
                </a:lnTo>
                <a:close/>
              </a:path>
              <a:path w="1685289" h="352425">
                <a:moveTo>
                  <a:pt x="1583689" y="252222"/>
                </a:moveTo>
                <a:lnTo>
                  <a:pt x="1572387" y="267588"/>
                </a:lnTo>
                <a:lnTo>
                  <a:pt x="1585976" y="277622"/>
                </a:lnTo>
                <a:lnTo>
                  <a:pt x="1621144" y="306764"/>
                </a:lnTo>
                <a:lnTo>
                  <a:pt x="1633736" y="292491"/>
                </a:lnTo>
                <a:lnTo>
                  <a:pt x="1598168" y="263017"/>
                </a:lnTo>
                <a:lnTo>
                  <a:pt x="1583689" y="252222"/>
                </a:lnTo>
                <a:close/>
              </a:path>
              <a:path w="1685289" h="352425">
                <a:moveTo>
                  <a:pt x="1472311" y="177292"/>
                </a:moveTo>
                <a:lnTo>
                  <a:pt x="1462532" y="193675"/>
                </a:lnTo>
                <a:lnTo>
                  <a:pt x="1488567" y="209296"/>
                </a:lnTo>
                <a:lnTo>
                  <a:pt x="1526286" y="234442"/>
                </a:lnTo>
                <a:lnTo>
                  <a:pt x="1536954" y="218694"/>
                </a:lnTo>
                <a:lnTo>
                  <a:pt x="1499108" y="193421"/>
                </a:lnTo>
                <a:lnTo>
                  <a:pt x="1472311" y="177292"/>
                </a:lnTo>
                <a:close/>
              </a:path>
              <a:path w="1685289" h="352425">
                <a:moveTo>
                  <a:pt x="1353693" y="114553"/>
                </a:moveTo>
                <a:lnTo>
                  <a:pt x="1345564" y="131825"/>
                </a:lnTo>
                <a:lnTo>
                  <a:pt x="1386586" y="151384"/>
                </a:lnTo>
                <a:lnTo>
                  <a:pt x="1413256" y="165608"/>
                </a:lnTo>
                <a:lnTo>
                  <a:pt x="1422273" y="148844"/>
                </a:lnTo>
                <a:lnTo>
                  <a:pt x="1395602" y="134493"/>
                </a:lnTo>
                <a:lnTo>
                  <a:pt x="1353693" y="114553"/>
                </a:lnTo>
                <a:close/>
              </a:path>
              <a:path w="1685289" h="352425">
                <a:moveTo>
                  <a:pt x="1228725" y="64770"/>
                </a:moveTo>
                <a:lnTo>
                  <a:pt x="1223010" y="82931"/>
                </a:lnTo>
                <a:lnTo>
                  <a:pt x="1226820" y="84200"/>
                </a:lnTo>
                <a:lnTo>
                  <a:pt x="1280922" y="103886"/>
                </a:lnTo>
                <a:lnTo>
                  <a:pt x="1293495" y="109220"/>
                </a:lnTo>
                <a:lnTo>
                  <a:pt x="1300861" y="91694"/>
                </a:lnTo>
                <a:lnTo>
                  <a:pt x="1288288" y="86360"/>
                </a:lnTo>
                <a:lnTo>
                  <a:pt x="1233424" y="66294"/>
                </a:lnTo>
                <a:lnTo>
                  <a:pt x="1228725" y="64770"/>
                </a:lnTo>
                <a:close/>
              </a:path>
              <a:path w="1685289" h="352425">
                <a:moveTo>
                  <a:pt x="1099312" y="29210"/>
                </a:moveTo>
                <a:lnTo>
                  <a:pt x="1095375" y="47751"/>
                </a:lnTo>
                <a:lnTo>
                  <a:pt x="1116965" y="52450"/>
                </a:lnTo>
                <a:lnTo>
                  <a:pt x="1168781" y="66039"/>
                </a:lnTo>
                <a:lnTo>
                  <a:pt x="1173734" y="47625"/>
                </a:lnTo>
                <a:lnTo>
                  <a:pt x="1121918" y="34036"/>
                </a:lnTo>
                <a:lnTo>
                  <a:pt x="1099312" y="29210"/>
                </a:lnTo>
                <a:close/>
              </a:path>
              <a:path w="1685289" h="352425">
                <a:moveTo>
                  <a:pt x="966978" y="7365"/>
                </a:moveTo>
                <a:lnTo>
                  <a:pt x="964692" y="26288"/>
                </a:lnTo>
                <a:lnTo>
                  <a:pt x="1005459" y="31114"/>
                </a:lnTo>
                <a:lnTo>
                  <a:pt x="1039749" y="36957"/>
                </a:lnTo>
                <a:lnTo>
                  <a:pt x="1042797" y="18161"/>
                </a:lnTo>
                <a:lnTo>
                  <a:pt x="1008634" y="12446"/>
                </a:lnTo>
                <a:lnTo>
                  <a:pt x="966978" y="7365"/>
                </a:lnTo>
                <a:close/>
              </a:path>
              <a:path w="1685289" h="352425">
                <a:moveTo>
                  <a:pt x="837057" y="0"/>
                </a:moveTo>
                <a:lnTo>
                  <a:pt x="832612" y="0"/>
                </a:lnTo>
                <a:lnTo>
                  <a:pt x="832993" y="19050"/>
                </a:lnTo>
                <a:lnTo>
                  <a:pt x="836549" y="19050"/>
                </a:lnTo>
                <a:lnTo>
                  <a:pt x="892937" y="20447"/>
                </a:lnTo>
                <a:lnTo>
                  <a:pt x="908177" y="21462"/>
                </a:lnTo>
                <a:lnTo>
                  <a:pt x="909574" y="2539"/>
                </a:lnTo>
                <a:lnTo>
                  <a:pt x="894334" y="1397"/>
                </a:lnTo>
                <a:lnTo>
                  <a:pt x="837057" y="0"/>
                </a:lnTo>
                <a:close/>
              </a:path>
              <a:path w="1685289" h="352425">
                <a:moveTo>
                  <a:pt x="774954" y="1397"/>
                </a:moveTo>
                <a:lnTo>
                  <a:pt x="722884" y="4952"/>
                </a:lnTo>
                <a:lnTo>
                  <a:pt x="698627" y="7747"/>
                </a:lnTo>
                <a:lnTo>
                  <a:pt x="700786" y="26670"/>
                </a:lnTo>
                <a:lnTo>
                  <a:pt x="724281" y="24002"/>
                </a:lnTo>
                <a:lnTo>
                  <a:pt x="776224" y="20447"/>
                </a:lnTo>
                <a:lnTo>
                  <a:pt x="774954" y="1397"/>
                </a:lnTo>
                <a:close/>
              </a:path>
              <a:path w="1685289" h="352425">
                <a:moveTo>
                  <a:pt x="641604" y="15494"/>
                </a:moveTo>
                <a:lnTo>
                  <a:pt x="609854" y="20574"/>
                </a:lnTo>
                <a:lnTo>
                  <a:pt x="566293" y="29845"/>
                </a:lnTo>
                <a:lnTo>
                  <a:pt x="570230" y="48513"/>
                </a:lnTo>
                <a:lnTo>
                  <a:pt x="612902" y="39370"/>
                </a:lnTo>
                <a:lnTo>
                  <a:pt x="644652" y="34289"/>
                </a:lnTo>
                <a:lnTo>
                  <a:pt x="641604" y="15494"/>
                </a:lnTo>
                <a:close/>
              </a:path>
              <a:path w="1685289" h="352425">
                <a:moveTo>
                  <a:pt x="510413" y="43814"/>
                </a:moveTo>
                <a:lnTo>
                  <a:pt x="498602" y="46989"/>
                </a:lnTo>
                <a:lnTo>
                  <a:pt x="443992" y="64135"/>
                </a:lnTo>
                <a:lnTo>
                  <a:pt x="436753" y="66801"/>
                </a:lnTo>
                <a:lnTo>
                  <a:pt x="443357" y="84709"/>
                </a:lnTo>
                <a:lnTo>
                  <a:pt x="449707" y="82296"/>
                </a:lnTo>
                <a:lnTo>
                  <a:pt x="503555" y="65405"/>
                </a:lnTo>
                <a:lnTo>
                  <a:pt x="515239" y="62357"/>
                </a:lnTo>
                <a:lnTo>
                  <a:pt x="510413" y="43814"/>
                </a:lnTo>
                <a:close/>
              </a:path>
              <a:path w="1685289" h="352425">
                <a:moveTo>
                  <a:pt x="382905" y="86995"/>
                </a:moveTo>
                <a:lnTo>
                  <a:pt x="337185" y="106425"/>
                </a:lnTo>
                <a:lnTo>
                  <a:pt x="312928" y="118237"/>
                </a:lnTo>
                <a:lnTo>
                  <a:pt x="321183" y="135382"/>
                </a:lnTo>
                <a:lnTo>
                  <a:pt x="344678" y="123951"/>
                </a:lnTo>
                <a:lnTo>
                  <a:pt x="390398" y="104521"/>
                </a:lnTo>
                <a:lnTo>
                  <a:pt x="382905" y="86995"/>
                </a:lnTo>
                <a:close/>
              </a:path>
              <a:path w="1685289" h="352425">
                <a:moveTo>
                  <a:pt x="261620" y="144525"/>
                </a:moveTo>
                <a:lnTo>
                  <a:pt x="234442" y="159385"/>
                </a:lnTo>
                <a:lnTo>
                  <a:pt x="195580" y="183387"/>
                </a:lnTo>
                <a:lnTo>
                  <a:pt x="205486" y="199517"/>
                </a:lnTo>
                <a:lnTo>
                  <a:pt x="243586" y="176149"/>
                </a:lnTo>
                <a:lnTo>
                  <a:pt x="270764" y="161289"/>
                </a:lnTo>
                <a:lnTo>
                  <a:pt x="261620" y="144525"/>
                </a:lnTo>
                <a:close/>
              </a:path>
              <a:path w="1685289" h="352425">
                <a:moveTo>
                  <a:pt x="147574" y="215392"/>
                </a:moveTo>
                <a:lnTo>
                  <a:pt x="136398" y="223138"/>
                </a:lnTo>
                <a:lnTo>
                  <a:pt x="89408" y="258952"/>
                </a:lnTo>
                <a:lnTo>
                  <a:pt x="85979" y="261747"/>
                </a:lnTo>
                <a:lnTo>
                  <a:pt x="98298" y="276225"/>
                </a:lnTo>
                <a:lnTo>
                  <a:pt x="100837" y="274065"/>
                </a:lnTo>
                <a:lnTo>
                  <a:pt x="147193" y="238760"/>
                </a:lnTo>
                <a:lnTo>
                  <a:pt x="158369" y="231139"/>
                </a:lnTo>
                <a:lnTo>
                  <a:pt x="147574" y="215392"/>
                </a:lnTo>
                <a:close/>
              </a:path>
              <a:path w="1685289" h="352425">
                <a:moveTo>
                  <a:pt x="42037" y="299085"/>
                </a:moveTo>
                <a:lnTo>
                  <a:pt x="0" y="338582"/>
                </a:lnTo>
                <a:lnTo>
                  <a:pt x="13081" y="352425"/>
                </a:lnTo>
                <a:lnTo>
                  <a:pt x="55118" y="313055"/>
                </a:lnTo>
                <a:lnTo>
                  <a:pt x="42037" y="299085"/>
                </a:lnTo>
                <a:close/>
              </a:path>
            </a:pathLst>
          </a:custGeom>
          <a:solidFill>
            <a:srgbClr val="A6A6A6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19" name="object 21">
            <a:extLst>
              <a:ext uri="{FF2B5EF4-FFF2-40B4-BE49-F238E27FC236}">
                <a16:creationId xmlns:a16="http://schemas.microsoft.com/office/drawing/2014/main" id="{0CCD1469-E680-414E-B7C4-30341926281B}"/>
              </a:ext>
            </a:extLst>
          </p:cNvPr>
          <p:cNvSpPr txBox="1"/>
          <p:nvPr/>
        </p:nvSpPr>
        <p:spPr>
          <a:xfrm>
            <a:off x="5075847" y="4469120"/>
            <a:ext cx="1220312" cy="11863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lvl="0" indent="635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-1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Behandler</a:t>
            </a:r>
            <a:r>
              <a:rPr kumimoji="0" lang="en-US" sz="900" b="0" i="0" u="none" strike="noStrike" kern="1200" cap="none" spc="-1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 </a:t>
            </a:r>
            <a:r>
              <a:rPr kumimoji="0" lang="en-US" sz="900" b="0" i="0" u="none" strike="noStrike" kern="1200" cap="none" spc="-1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innkjøpsordre</a:t>
            </a:r>
            <a:endParaRPr kumimoji="0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Verdana"/>
            </a:endParaRPr>
          </a:p>
        </p:txBody>
      </p:sp>
      <p:sp>
        <p:nvSpPr>
          <p:cNvPr id="20" name="object 56">
            <a:extLst>
              <a:ext uri="{FF2B5EF4-FFF2-40B4-BE49-F238E27FC236}">
                <a16:creationId xmlns:a16="http://schemas.microsoft.com/office/drawing/2014/main" id="{A8BF1728-D979-4022-9953-3DCECA5890E2}"/>
              </a:ext>
            </a:extLst>
          </p:cNvPr>
          <p:cNvSpPr txBox="1"/>
          <p:nvPr/>
        </p:nvSpPr>
        <p:spPr>
          <a:xfrm>
            <a:off x="5902459" y="3097870"/>
            <a:ext cx="1521354" cy="12906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-1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Vare/tjeneste leveres</a:t>
            </a:r>
            <a:endParaRPr kumimoji="0" lang="en-US" sz="900" b="0" i="0" u="none" strike="noStrike" kern="1200" cap="none" spc="-5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Verdana"/>
            </a:endParaRPr>
          </a:p>
        </p:txBody>
      </p:sp>
      <p:sp>
        <p:nvSpPr>
          <p:cNvPr id="21" name="object 75">
            <a:extLst>
              <a:ext uri="{FF2B5EF4-FFF2-40B4-BE49-F238E27FC236}">
                <a16:creationId xmlns:a16="http://schemas.microsoft.com/office/drawing/2014/main" id="{7FA1C302-102A-47F5-A390-1C7BCA78D7A6}"/>
              </a:ext>
            </a:extLst>
          </p:cNvPr>
          <p:cNvSpPr/>
          <p:nvPr/>
        </p:nvSpPr>
        <p:spPr>
          <a:xfrm>
            <a:off x="6127176" y="2344028"/>
            <a:ext cx="524065" cy="328112"/>
          </a:xfrm>
          <a:prstGeom prst="rect">
            <a:avLst/>
          </a:prstGeom>
          <a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5C5C5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557571D0-E209-4FB6-9821-F5965D88C7C9}"/>
              </a:ext>
            </a:extLst>
          </p:cNvPr>
          <p:cNvGrpSpPr/>
          <p:nvPr/>
        </p:nvGrpSpPr>
        <p:grpSpPr>
          <a:xfrm>
            <a:off x="289779" y="1863840"/>
            <a:ext cx="1020570" cy="1115593"/>
            <a:chOff x="3467100" y="1822705"/>
            <a:chExt cx="1417446" cy="1481454"/>
          </a:xfrm>
        </p:grpSpPr>
        <p:sp>
          <p:nvSpPr>
            <p:cNvPr id="77" name="object 17">
              <a:extLst>
                <a:ext uri="{FF2B5EF4-FFF2-40B4-BE49-F238E27FC236}">
                  <a16:creationId xmlns:a16="http://schemas.microsoft.com/office/drawing/2014/main" id="{B1DC2C77-3C68-4583-8E00-120A29684A5A}"/>
                </a:ext>
              </a:extLst>
            </p:cNvPr>
            <p:cNvSpPr/>
            <p:nvPr/>
          </p:nvSpPr>
          <p:spPr>
            <a:xfrm>
              <a:off x="3550284" y="1898904"/>
              <a:ext cx="1259840" cy="1405255"/>
            </a:xfrm>
            <a:custGeom>
              <a:avLst/>
              <a:gdLst/>
              <a:ahLst/>
              <a:cxnLst/>
              <a:rect l="l" t="t" r="r" b="b"/>
              <a:pathLst>
                <a:path w="1259839" h="1405254">
                  <a:moveTo>
                    <a:pt x="556132" y="0"/>
                  </a:moveTo>
                  <a:lnTo>
                    <a:pt x="604293" y="1620"/>
                  </a:lnTo>
                  <a:lnTo>
                    <a:pt x="651582" y="6414"/>
                  </a:lnTo>
                  <a:lnTo>
                    <a:pt x="697894" y="14274"/>
                  </a:lnTo>
                  <a:lnTo>
                    <a:pt x="743124" y="25098"/>
                  </a:lnTo>
                  <a:lnTo>
                    <a:pt x="787169" y="38780"/>
                  </a:lnTo>
                  <a:lnTo>
                    <a:pt x="829923" y="55215"/>
                  </a:lnTo>
                  <a:lnTo>
                    <a:pt x="871281" y="74299"/>
                  </a:lnTo>
                  <a:lnTo>
                    <a:pt x="911140" y="95927"/>
                  </a:lnTo>
                  <a:lnTo>
                    <a:pt x="949394" y="119994"/>
                  </a:lnTo>
                  <a:lnTo>
                    <a:pt x="985938" y="146397"/>
                  </a:lnTo>
                  <a:lnTo>
                    <a:pt x="1020669" y="175029"/>
                  </a:lnTo>
                  <a:lnTo>
                    <a:pt x="1053480" y="205787"/>
                  </a:lnTo>
                  <a:lnTo>
                    <a:pt x="1084269" y="238566"/>
                  </a:lnTo>
                  <a:lnTo>
                    <a:pt x="1112929" y="273261"/>
                  </a:lnTo>
                  <a:lnTo>
                    <a:pt x="1139356" y="309767"/>
                  </a:lnTo>
                  <a:lnTo>
                    <a:pt x="1163447" y="347980"/>
                  </a:lnTo>
                  <a:lnTo>
                    <a:pt x="1185094" y="387794"/>
                  </a:lnTo>
                  <a:lnTo>
                    <a:pt x="1204196" y="429107"/>
                  </a:lnTo>
                  <a:lnTo>
                    <a:pt x="1220645" y="471812"/>
                  </a:lnTo>
                  <a:lnTo>
                    <a:pt x="1234339" y="515805"/>
                  </a:lnTo>
                  <a:lnTo>
                    <a:pt x="1245172" y="560981"/>
                  </a:lnTo>
                  <a:lnTo>
                    <a:pt x="1253039" y="607236"/>
                  </a:lnTo>
                  <a:lnTo>
                    <a:pt x="1257836" y="654465"/>
                  </a:lnTo>
                  <a:lnTo>
                    <a:pt x="1259459" y="702563"/>
                  </a:lnTo>
                  <a:lnTo>
                    <a:pt x="1257836" y="750662"/>
                  </a:lnTo>
                  <a:lnTo>
                    <a:pt x="1253039" y="797891"/>
                  </a:lnTo>
                  <a:lnTo>
                    <a:pt x="1245172" y="844146"/>
                  </a:lnTo>
                  <a:lnTo>
                    <a:pt x="1234339" y="889322"/>
                  </a:lnTo>
                  <a:lnTo>
                    <a:pt x="1220645" y="933315"/>
                  </a:lnTo>
                  <a:lnTo>
                    <a:pt x="1204196" y="976020"/>
                  </a:lnTo>
                  <a:lnTo>
                    <a:pt x="1185094" y="1017333"/>
                  </a:lnTo>
                  <a:lnTo>
                    <a:pt x="1163447" y="1057147"/>
                  </a:lnTo>
                  <a:lnTo>
                    <a:pt x="1139356" y="1095360"/>
                  </a:lnTo>
                  <a:lnTo>
                    <a:pt x="1112929" y="1131866"/>
                  </a:lnTo>
                  <a:lnTo>
                    <a:pt x="1084269" y="1166561"/>
                  </a:lnTo>
                  <a:lnTo>
                    <a:pt x="1053480" y="1199340"/>
                  </a:lnTo>
                  <a:lnTo>
                    <a:pt x="1020669" y="1230098"/>
                  </a:lnTo>
                  <a:lnTo>
                    <a:pt x="985938" y="1258730"/>
                  </a:lnTo>
                  <a:lnTo>
                    <a:pt x="949394" y="1285133"/>
                  </a:lnTo>
                  <a:lnTo>
                    <a:pt x="911140" y="1309200"/>
                  </a:lnTo>
                  <a:lnTo>
                    <a:pt x="871281" y="1330828"/>
                  </a:lnTo>
                  <a:lnTo>
                    <a:pt x="829923" y="1349912"/>
                  </a:lnTo>
                  <a:lnTo>
                    <a:pt x="787169" y="1366347"/>
                  </a:lnTo>
                  <a:lnTo>
                    <a:pt x="743124" y="1380029"/>
                  </a:lnTo>
                  <a:lnTo>
                    <a:pt x="697894" y="1390853"/>
                  </a:lnTo>
                  <a:lnTo>
                    <a:pt x="651582" y="1398713"/>
                  </a:lnTo>
                  <a:lnTo>
                    <a:pt x="604293" y="1403507"/>
                  </a:lnTo>
                  <a:lnTo>
                    <a:pt x="556132" y="1405128"/>
                  </a:lnTo>
                  <a:lnTo>
                    <a:pt x="506172" y="1403355"/>
                  </a:lnTo>
                  <a:lnTo>
                    <a:pt x="456808" y="1398092"/>
                  </a:lnTo>
                  <a:lnTo>
                    <a:pt x="408205" y="1389418"/>
                  </a:lnTo>
                  <a:lnTo>
                    <a:pt x="360525" y="1377414"/>
                  </a:lnTo>
                  <a:lnTo>
                    <a:pt x="313933" y="1362159"/>
                  </a:lnTo>
                  <a:lnTo>
                    <a:pt x="268593" y="1343733"/>
                  </a:lnTo>
                  <a:lnTo>
                    <a:pt x="224667" y="1322217"/>
                  </a:lnTo>
                  <a:lnTo>
                    <a:pt x="182321" y="1297691"/>
                  </a:lnTo>
                  <a:lnTo>
                    <a:pt x="141717" y="1270235"/>
                  </a:lnTo>
                  <a:lnTo>
                    <a:pt x="103019" y="1239929"/>
                  </a:lnTo>
                  <a:lnTo>
                    <a:pt x="66391" y="1206853"/>
                  </a:lnTo>
                  <a:lnTo>
                    <a:pt x="31997" y="1171088"/>
                  </a:lnTo>
                  <a:lnTo>
                    <a:pt x="0" y="1132713"/>
                  </a:lnTo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78" name="object 18">
              <a:extLst>
                <a:ext uri="{FF2B5EF4-FFF2-40B4-BE49-F238E27FC236}">
                  <a16:creationId xmlns:a16="http://schemas.microsoft.com/office/drawing/2014/main" id="{60F58578-3E3B-45FB-817B-B5930C4253E7}"/>
                </a:ext>
              </a:extLst>
            </p:cNvPr>
            <p:cNvSpPr/>
            <p:nvPr/>
          </p:nvSpPr>
          <p:spPr>
            <a:xfrm>
              <a:off x="3467100" y="1962911"/>
              <a:ext cx="1278890" cy="1277620"/>
            </a:xfrm>
            <a:custGeom>
              <a:avLst/>
              <a:gdLst/>
              <a:ahLst/>
              <a:cxnLst/>
              <a:rect l="l" t="t" r="r" b="b"/>
              <a:pathLst>
                <a:path w="1278889" h="1277620">
                  <a:moveTo>
                    <a:pt x="639317" y="0"/>
                  </a:moveTo>
                  <a:lnTo>
                    <a:pt x="687027" y="1751"/>
                  </a:lnTo>
                  <a:lnTo>
                    <a:pt x="733785" y="6923"/>
                  </a:lnTo>
                  <a:lnTo>
                    <a:pt x="779468" y="15392"/>
                  </a:lnTo>
                  <a:lnTo>
                    <a:pt x="823952" y="27034"/>
                  </a:lnTo>
                  <a:lnTo>
                    <a:pt x="867112" y="41727"/>
                  </a:lnTo>
                  <a:lnTo>
                    <a:pt x="908827" y="59346"/>
                  </a:lnTo>
                  <a:lnTo>
                    <a:pt x="948971" y="79769"/>
                  </a:lnTo>
                  <a:lnTo>
                    <a:pt x="987422" y="102871"/>
                  </a:lnTo>
                  <a:lnTo>
                    <a:pt x="1024055" y="128530"/>
                  </a:lnTo>
                  <a:lnTo>
                    <a:pt x="1058747" y="156622"/>
                  </a:lnTo>
                  <a:lnTo>
                    <a:pt x="1091374" y="187023"/>
                  </a:lnTo>
                  <a:lnTo>
                    <a:pt x="1121813" y="219610"/>
                  </a:lnTo>
                  <a:lnTo>
                    <a:pt x="1149940" y="254260"/>
                  </a:lnTo>
                  <a:lnTo>
                    <a:pt x="1175631" y="290849"/>
                  </a:lnTo>
                  <a:lnTo>
                    <a:pt x="1198763" y="329253"/>
                  </a:lnTo>
                  <a:lnTo>
                    <a:pt x="1219212" y="369350"/>
                  </a:lnTo>
                  <a:lnTo>
                    <a:pt x="1236854" y="411016"/>
                  </a:lnTo>
                  <a:lnTo>
                    <a:pt x="1251565" y="454127"/>
                  </a:lnTo>
                  <a:lnTo>
                    <a:pt x="1263223" y="498560"/>
                  </a:lnTo>
                  <a:lnTo>
                    <a:pt x="1271703" y="544191"/>
                  </a:lnTo>
                  <a:lnTo>
                    <a:pt x="1276882" y="590898"/>
                  </a:lnTo>
                  <a:lnTo>
                    <a:pt x="1278636" y="638555"/>
                  </a:lnTo>
                  <a:lnTo>
                    <a:pt x="1276882" y="686213"/>
                  </a:lnTo>
                  <a:lnTo>
                    <a:pt x="1271703" y="732920"/>
                  </a:lnTo>
                  <a:lnTo>
                    <a:pt x="1263223" y="778551"/>
                  </a:lnTo>
                  <a:lnTo>
                    <a:pt x="1251565" y="822984"/>
                  </a:lnTo>
                  <a:lnTo>
                    <a:pt x="1236854" y="866095"/>
                  </a:lnTo>
                  <a:lnTo>
                    <a:pt x="1219212" y="907761"/>
                  </a:lnTo>
                  <a:lnTo>
                    <a:pt x="1198763" y="947858"/>
                  </a:lnTo>
                  <a:lnTo>
                    <a:pt x="1175631" y="986262"/>
                  </a:lnTo>
                  <a:lnTo>
                    <a:pt x="1149940" y="1022851"/>
                  </a:lnTo>
                  <a:lnTo>
                    <a:pt x="1121813" y="1057501"/>
                  </a:lnTo>
                  <a:lnTo>
                    <a:pt x="1091374" y="1090088"/>
                  </a:lnTo>
                  <a:lnTo>
                    <a:pt x="1058747" y="1120489"/>
                  </a:lnTo>
                  <a:lnTo>
                    <a:pt x="1024055" y="1148581"/>
                  </a:lnTo>
                  <a:lnTo>
                    <a:pt x="987422" y="1174240"/>
                  </a:lnTo>
                  <a:lnTo>
                    <a:pt x="948971" y="1197342"/>
                  </a:lnTo>
                  <a:lnTo>
                    <a:pt x="908827" y="1217765"/>
                  </a:lnTo>
                  <a:lnTo>
                    <a:pt x="867112" y="1235384"/>
                  </a:lnTo>
                  <a:lnTo>
                    <a:pt x="823952" y="1250077"/>
                  </a:lnTo>
                  <a:lnTo>
                    <a:pt x="779468" y="1261719"/>
                  </a:lnTo>
                  <a:lnTo>
                    <a:pt x="733785" y="1270188"/>
                  </a:lnTo>
                  <a:lnTo>
                    <a:pt x="687027" y="1275360"/>
                  </a:lnTo>
                  <a:lnTo>
                    <a:pt x="639317" y="1277112"/>
                  </a:lnTo>
                  <a:lnTo>
                    <a:pt x="591608" y="1275360"/>
                  </a:lnTo>
                  <a:lnTo>
                    <a:pt x="544850" y="1270188"/>
                  </a:lnTo>
                  <a:lnTo>
                    <a:pt x="499167" y="1261719"/>
                  </a:lnTo>
                  <a:lnTo>
                    <a:pt x="454683" y="1250077"/>
                  </a:lnTo>
                  <a:lnTo>
                    <a:pt x="411523" y="1235384"/>
                  </a:lnTo>
                  <a:lnTo>
                    <a:pt x="369808" y="1217765"/>
                  </a:lnTo>
                  <a:lnTo>
                    <a:pt x="329664" y="1197342"/>
                  </a:lnTo>
                  <a:lnTo>
                    <a:pt x="291213" y="1174240"/>
                  </a:lnTo>
                  <a:lnTo>
                    <a:pt x="254580" y="1148581"/>
                  </a:lnTo>
                  <a:lnTo>
                    <a:pt x="219888" y="1120489"/>
                  </a:lnTo>
                  <a:lnTo>
                    <a:pt x="187261" y="1090088"/>
                  </a:lnTo>
                  <a:lnTo>
                    <a:pt x="156822" y="1057501"/>
                  </a:lnTo>
                  <a:lnTo>
                    <a:pt x="128695" y="1022851"/>
                  </a:lnTo>
                  <a:lnTo>
                    <a:pt x="103004" y="986262"/>
                  </a:lnTo>
                  <a:lnTo>
                    <a:pt x="79872" y="947858"/>
                  </a:lnTo>
                  <a:lnTo>
                    <a:pt x="59423" y="907761"/>
                  </a:lnTo>
                  <a:lnTo>
                    <a:pt x="41781" y="866095"/>
                  </a:lnTo>
                  <a:lnTo>
                    <a:pt x="27070" y="822984"/>
                  </a:lnTo>
                  <a:lnTo>
                    <a:pt x="15412" y="778551"/>
                  </a:lnTo>
                  <a:lnTo>
                    <a:pt x="6932" y="732920"/>
                  </a:lnTo>
                  <a:lnTo>
                    <a:pt x="1753" y="686213"/>
                  </a:lnTo>
                  <a:lnTo>
                    <a:pt x="0" y="638555"/>
                  </a:lnTo>
                  <a:lnTo>
                    <a:pt x="2217" y="585401"/>
                  </a:lnTo>
                  <a:lnTo>
                    <a:pt x="8812" y="532886"/>
                  </a:lnTo>
                  <a:lnTo>
                    <a:pt x="19696" y="481266"/>
                  </a:lnTo>
                  <a:lnTo>
                    <a:pt x="34782" y="430799"/>
                  </a:lnTo>
                  <a:lnTo>
                    <a:pt x="53981" y="381744"/>
                  </a:lnTo>
                  <a:lnTo>
                    <a:pt x="77206" y="334357"/>
                  </a:lnTo>
                  <a:lnTo>
                    <a:pt x="104368" y="288895"/>
                  </a:lnTo>
                  <a:lnTo>
                    <a:pt x="135382" y="245617"/>
                  </a:lnTo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79" name="object 19">
              <a:extLst>
                <a:ext uri="{FF2B5EF4-FFF2-40B4-BE49-F238E27FC236}">
                  <a16:creationId xmlns:a16="http://schemas.microsoft.com/office/drawing/2014/main" id="{63B88205-4384-47CF-BA32-AA3BDCD7E5E4}"/>
                </a:ext>
              </a:extLst>
            </p:cNvPr>
            <p:cNvSpPr/>
            <p:nvPr/>
          </p:nvSpPr>
          <p:spPr>
            <a:xfrm>
              <a:off x="4111750" y="1822705"/>
              <a:ext cx="772796" cy="1082675"/>
            </a:xfrm>
            <a:custGeom>
              <a:avLst/>
              <a:gdLst/>
              <a:ahLst/>
              <a:cxnLst/>
              <a:rect l="l" t="t" r="r" b="b"/>
              <a:pathLst>
                <a:path w="772795" h="1082675">
                  <a:moveTo>
                    <a:pt x="0" y="0"/>
                  </a:moveTo>
                  <a:lnTo>
                    <a:pt x="48863" y="1521"/>
                  </a:lnTo>
                  <a:lnTo>
                    <a:pt x="96919" y="6026"/>
                  </a:lnTo>
                  <a:lnTo>
                    <a:pt x="144077" y="13424"/>
                  </a:lnTo>
                  <a:lnTo>
                    <a:pt x="190246" y="23624"/>
                  </a:lnTo>
                  <a:lnTo>
                    <a:pt x="235337" y="36535"/>
                  </a:lnTo>
                  <a:lnTo>
                    <a:pt x="279258" y="52067"/>
                  </a:lnTo>
                  <a:lnTo>
                    <a:pt x="321919" y="70128"/>
                  </a:lnTo>
                  <a:lnTo>
                    <a:pt x="363229" y="90629"/>
                  </a:lnTo>
                  <a:lnTo>
                    <a:pt x="403098" y="113479"/>
                  </a:lnTo>
                  <a:lnTo>
                    <a:pt x="441436" y="138587"/>
                  </a:lnTo>
                  <a:lnTo>
                    <a:pt x="478151" y="165862"/>
                  </a:lnTo>
                  <a:lnTo>
                    <a:pt x="513154" y="195214"/>
                  </a:lnTo>
                  <a:lnTo>
                    <a:pt x="546354" y="226552"/>
                  </a:lnTo>
                  <a:lnTo>
                    <a:pt x="577659" y="259785"/>
                  </a:lnTo>
                  <a:lnTo>
                    <a:pt x="606981" y="294823"/>
                  </a:lnTo>
                  <a:lnTo>
                    <a:pt x="634228" y="331575"/>
                  </a:lnTo>
                  <a:lnTo>
                    <a:pt x="659309" y="369951"/>
                  </a:lnTo>
                  <a:lnTo>
                    <a:pt x="682135" y="409859"/>
                  </a:lnTo>
                  <a:lnTo>
                    <a:pt x="702614" y="451210"/>
                  </a:lnTo>
                  <a:lnTo>
                    <a:pt x="720657" y="493912"/>
                  </a:lnTo>
                  <a:lnTo>
                    <a:pt x="736172" y="537875"/>
                  </a:lnTo>
                  <a:lnTo>
                    <a:pt x="749069" y="583008"/>
                  </a:lnTo>
                  <a:lnTo>
                    <a:pt x="759257" y="629221"/>
                  </a:lnTo>
                  <a:lnTo>
                    <a:pt x="766647" y="676422"/>
                  </a:lnTo>
                  <a:lnTo>
                    <a:pt x="771147" y="724522"/>
                  </a:lnTo>
                  <a:lnTo>
                    <a:pt x="772668" y="773430"/>
                  </a:lnTo>
                  <a:lnTo>
                    <a:pt x="770853" y="826453"/>
                  </a:lnTo>
                  <a:lnTo>
                    <a:pt x="765433" y="879103"/>
                  </a:lnTo>
                  <a:lnTo>
                    <a:pt x="756443" y="931195"/>
                  </a:lnTo>
                  <a:lnTo>
                    <a:pt x="743918" y="982547"/>
                  </a:lnTo>
                  <a:lnTo>
                    <a:pt x="727894" y="1032974"/>
                  </a:lnTo>
                  <a:lnTo>
                    <a:pt x="708406" y="1082294"/>
                  </a:lnTo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80" name="object 40">
              <a:extLst>
                <a:ext uri="{FF2B5EF4-FFF2-40B4-BE49-F238E27FC236}">
                  <a16:creationId xmlns:a16="http://schemas.microsoft.com/office/drawing/2014/main" id="{E73A811D-D9FF-4D8F-AA5C-2CCFB426D687}"/>
                </a:ext>
              </a:extLst>
            </p:cNvPr>
            <p:cNvSpPr/>
            <p:nvPr/>
          </p:nvSpPr>
          <p:spPr>
            <a:xfrm>
              <a:off x="3547109" y="2032254"/>
              <a:ext cx="1130935" cy="1130935"/>
            </a:xfrm>
            <a:custGeom>
              <a:avLst/>
              <a:gdLst/>
              <a:ahLst/>
              <a:cxnLst/>
              <a:rect l="l" t="t" r="r" b="b"/>
              <a:pathLst>
                <a:path w="1130935" h="1130935">
                  <a:moveTo>
                    <a:pt x="565403" y="0"/>
                  </a:moveTo>
                  <a:lnTo>
                    <a:pt x="516614" y="2075"/>
                  </a:lnTo>
                  <a:lnTo>
                    <a:pt x="468978" y="8187"/>
                  </a:lnTo>
                  <a:lnTo>
                    <a:pt x="422665" y="18167"/>
                  </a:lnTo>
                  <a:lnTo>
                    <a:pt x="377844" y="31845"/>
                  </a:lnTo>
                  <a:lnTo>
                    <a:pt x="334686" y="49051"/>
                  </a:lnTo>
                  <a:lnTo>
                    <a:pt x="293360" y="69615"/>
                  </a:lnTo>
                  <a:lnTo>
                    <a:pt x="254034" y="93369"/>
                  </a:lnTo>
                  <a:lnTo>
                    <a:pt x="216881" y="120142"/>
                  </a:lnTo>
                  <a:lnTo>
                    <a:pt x="182067" y="149765"/>
                  </a:lnTo>
                  <a:lnTo>
                    <a:pt x="149765" y="182067"/>
                  </a:lnTo>
                  <a:lnTo>
                    <a:pt x="120142" y="216881"/>
                  </a:lnTo>
                  <a:lnTo>
                    <a:pt x="93369" y="254034"/>
                  </a:lnTo>
                  <a:lnTo>
                    <a:pt x="69615" y="293360"/>
                  </a:lnTo>
                  <a:lnTo>
                    <a:pt x="49051" y="334686"/>
                  </a:lnTo>
                  <a:lnTo>
                    <a:pt x="31845" y="377844"/>
                  </a:lnTo>
                  <a:lnTo>
                    <a:pt x="18167" y="422665"/>
                  </a:lnTo>
                  <a:lnTo>
                    <a:pt x="8187" y="468978"/>
                  </a:lnTo>
                  <a:lnTo>
                    <a:pt x="2075" y="516614"/>
                  </a:lnTo>
                  <a:lnTo>
                    <a:pt x="0" y="565404"/>
                  </a:lnTo>
                  <a:lnTo>
                    <a:pt x="2075" y="614193"/>
                  </a:lnTo>
                  <a:lnTo>
                    <a:pt x="8187" y="661829"/>
                  </a:lnTo>
                  <a:lnTo>
                    <a:pt x="18167" y="708142"/>
                  </a:lnTo>
                  <a:lnTo>
                    <a:pt x="31845" y="752963"/>
                  </a:lnTo>
                  <a:lnTo>
                    <a:pt x="49051" y="796121"/>
                  </a:lnTo>
                  <a:lnTo>
                    <a:pt x="69615" y="837447"/>
                  </a:lnTo>
                  <a:lnTo>
                    <a:pt x="93369" y="876773"/>
                  </a:lnTo>
                  <a:lnTo>
                    <a:pt x="120142" y="913926"/>
                  </a:lnTo>
                  <a:lnTo>
                    <a:pt x="149765" y="948740"/>
                  </a:lnTo>
                  <a:lnTo>
                    <a:pt x="182067" y="981042"/>
                  </a:lnTo>
                  <a:lnTo>
                    <a:pt x="216881" y="1010665"/>
                  </a:lnTo>
                  <a:lnTo>
                    <a:pt x="254034" y="1037438"/>
                  </a:lnTo>
                  <a:lnTo>
                    <a:pt x="293360" y="1061192"/>
                  </a:lnTo>
                  <a:lnTo>
                    <a:pt x="334686" y="1081756"/>
                  </a:lnTo>
                  <a:lnTo>
                    <a:pt x="377844" y="1098962"/>
                  </a:lnTo>
                  <a:lnTo>
                    <a:pt x="422665" y="1112640"/>
                  </a:lnTo>
                  <a:lnTo>
                    <a:pt x="468978" y="1122620"/>
                  </a:lnTo>
                  <a:lnTo>
                    <a:pt x="516614" y="1128732"/>
                  </a:lnTo>
                  <a:lnTo>
                    <a:pt x="565403" y="1130808"/>
                  </a:lnTo>
                  <a:lnTo>
                    <a:pt x="614193" y="1128732"/>
                  </a:lnTo>
                  <a:lnTo>
                    <a:pt x="661829" y="1122620"/>
                  </a:lnTo>
                  <a:lnTo>
                    <a:pt x="708142" y="1112640"/>
                  </a:lnTo>
                  <a:lnTo>
                    <a:pt x="752963" y="1098962"/>
                  </a:lnTo>
                  <a:lnTo>
                    <a:pt x="796121" y="1081756"/>
                  </a:lnTo>
                  <a:lnTo>
                    <a:pt x="837447" y="1061192"/>
                  </a:lnTo>
                  <a:lnTo>
                    <a:pt x="876773" y="1037438"/>
                  </a:lnTo>
                  <a:lnTo>
                    <a:pt x="913926" y="1010665"/>
                  </a:lnTo>
                  <a:lnTo>
                    <a:pt x="948740" y="981042"/>
                  </a:lnTo>
                  <a:lnTo>
                    <a:pt x="981042" y="948740"/>
                  </a:lnTo>
                  <a:lnTo>
                    <a:pt x="1010665" y="913926"/>
                  </a:lnTo>
                  <a:lnTo>
                    <a:pt x="1037438" y="876773"/>
                  </a:lnTo>
                  <a:lnTo>
                    <a:pt x="1061192" y="837447"/>
                  </a:lnTo>
                  <a:lnTo>
                    <a:pt x="1081756" y="796121"/>
                  </a:lnTo>
                  <a:lnTo>
                    <a:pt x="1098962" y="752963"/>
                  </a:lnTo>
                  <a:lnTo>
                    <a:pt x="1112640" y="708142"/>
                  </a:lnTo>
                  <a:lnTo>
                    <a:pt x="1122620" y="661829"/>
                  </a:lnTo>
                  <a:lnTo>
                    <a:pt x="1128732" y="614193"/>
                  </a:lnTo>
                  <a:lnTo>
                    <a:pt x="1130807" y="565404"/>
                  </a:lnTo>
                  <a:lnTo>
                    <a:pt x="1128732" y="516614"/>
                  </a:lnTo>
                  <a:lnTo>
                    <a:pt x="1122620" y="468978"/>
                  </a:lnTo>
                  <a:lnTo>
                    <a:pt x="1112640" y="422665"/>
                  </a:lnTo>
                  <a:lnTo>
                    <a:pt x="1098962" y="377844"/>
                  </a:lnTo>
                  <a:lnTo>
                    <a:pt x="1081756" y="334686"/>
                  </a:lnTo>
                  <a:lnTo>
                    <a:pt x="1061192" y="293360"/>
                  </a:lnTo>
                  <a:lnTo>
                    <a:pt x="1037438" y="254034"/>
                  </a:lnTo>
                  <a:lnTo>
                    <a:pt x="1010665" y="216881"/>
                  </a:lnTo>
                  <a:lnTo>
                    <a:pt x="981042" y="182067"/>
                  </a:lnTo>
                  <a:lnTo>
                    <a:pt x="948740" y="149765"/>
                  </a:lnTo>
                  <a:lnTo>
                    <a:pt x="913926" y="120142"/>
                  </a:lnTo>
                  <a:lnTo>
                    <a:pt x="876773" y="93369"/>
                  </a:lnTo>
                  <a:lnTo>
                    <a:pt x="837447" y="69615"/>
                  </a:lnTo>
                  <a:lnTo>
                    <a:pt x="796121" y="49051"/>
                  </a:lnTo>
                  <a:lnTo>
                    <a:pt x="752963" y="31845"/>
                  </a:lnTo>
                  <a:lnTo>
                    <a:pt x="708142" y="18167"/>
                  </a:lnTo>
                  <a:lnTo>
                    <a:pt x="661829" y="8187"/>
                  </a:lnTo>
                  <a:lnTo>
                    <a:pt x="614193" y="2075"/>
                  </a:lnTo>
                  <a:lnTo>
                    <a:pt x="565403" y="0"/>
                  </a:lnTo>
                  <a:close/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81" name="object 41">
              <a:extLst>
                <a:ext uri="{FF2B5EF4-FFF2-40B4-BE49-F238E27FC236}">
                  <a16:creationId xmlns:a16="http://schemas.microsoft.com/office/drawing/2014/main" id="{5EF69DED-DA14-465B-AEAE-45030D81CA20}"/>
                </a:ext>
              </a:extLst>
            </p:cNvPr>
            <p:cNvSpPr/>
            <p:nvPr/>
          </p:nvSpPr>
          <p:spPr>
            <a:xfrm>
              <a:off x="3547109" y="2032255"/>
              <a:ext cx="1130936" cy="1130935"/>
            </a:xfrm>
            <a:custGeom>
              <a:avLst/>
              <a:gdLst/>
              <a:ahLst/>
              <a:cxnLst/>
              <a:rect l="l" t="t" r="r" b="b"/>
              <a:pathLst>
                <a:path w="1130935" h="1130935">
                  <a:moveTo>
                    <a:pt x="0" y="565404"/>
                  </a:moveTo>
                  <a:lnTo>
                    <a:pt x="2075" y="516614"/>
                  </a:lnTo>
                  <a:lnTo>
                    <a:pt x="8187" y="468978"/>
                  </a:lnTo>
                  <a:lnTo>
                    <a:pt x="18167" y="422665"/>
                  </a:lnTo>
                  <a:lnTo>
                    <a:pt x="31845" y="377844"/>
                  </a:lnTo>
                  <a:lnTo>
                    <a:pt x="49051" y="334686"/>
                  </a:lnTo>
                  <a:lnTo>
                    <a:pt x="69615" y="293360"/>
                  </a:lnTo>
                  <a:lnTo>
                    <a:pt x="93369" y="254034"/>
                  </a:lnTo>
                  <a:lnTo>
                    <a:pt x="120142" y="216881"/>
                  </a:lnTo>
                  <a:lnTo>
                    <a:pt x="149765" y="182067"/>
                  </a:lnTo>
                  <a:lnTo>
                    <a:pt x="182067" y="149765"/>
                  </a:lnTo>
                  <a:lnTo>
                    <a:pt x="216881" y="120142"/>
                  </a:lnTo>
                  <a:lnTo>
                    <a:pt x="254034" y="93369"/>
                  </a:lnTo>
                  <a:lnTo>
                    <a:pt x="293360" y="69615"/>
                  </a:lnTo>
                  <a:lnTo>
                    <a:pt x="334686" y="49051"/>
                  </a:lnTo>
                  <a:lnTo>
                    <a:pt x="377844" y="31845"/>
                  </a:lnTo>
                  <a:lnTo>
                    <a:pt x="422665" y="18167"/>
                  </a:lnTo>
                  <a:lnTo>
                    <a:pt x="468978" y="8187"/>
                  </a:lnTo>
                  <a:lnTo>
                    <a:pt x="516614" y="2075"/>
                  </a:lnTo>
                  <a:lnTo>
                    <a:pt x="565403" y="0"/>
                  </a:lnTo>
                  <a:lnTo>
                    <a:pt x="614193" y="2075"/>
                  </a:lnTo>
                  <a:lnTo>
                    <a:pt x="661829" y="8187"/>
                  </a:lnTo>
                  <a:lnTo>
                    <a:pt x="708142" y="18167"/>
                  </a:lnTo>
                  <a:lnTo>
                    <a:pt x="752963" y="31845"/>
                  </a:lnTo>
                  <a:lnTo>
                    <a:pt x="796121" y="49051"/>
                  </a:lnTo>
                  <a:lnTo>
                    <a:pt x="837447" y="69615"/>
                  </a:lnTo>
                  <a:lnTo>
                    <a:pt x="876773" y="93369"/>
                  </a:lnTo>
                  <a:lnTo>
                    <a:pt x="913926" y="120142"/>
                  </a:lnTo>
                  <a:lnTo>
                    <a:pt x="948740" y="149765"/>
                  </a:lnTo>
                  <a:lnTo>
                    <a:pt x="981042" y="182067"/>
                  </a:lnTo>
                  <a:lnTo>
                    <a:pt x="1010665" y="216881"/>
                  </a:lnTo>
                  <a:lnTo>
                    <a:pt x="1037438" y="254034"/>
                  </a:lnTo>
                  <a:lnTo>
                    <a:pt x="1061192" y="293360"/>
                  </a:lnTo>
                  <a:lnTo>
                    <a:pt x="1081756" y="334686"/>
                  </a:lnTo>
                  <a:lnTo>
                    <a:pt x="1098962" y="377844"/>
                  </a:lnTo>
                  <a:lnTo>
                    <a:pt x="1112640" y="422665"/>
                  </a:lnTo>
                  <a:lnTo>
                    <a:pt x="1122620" y="468978"/>
                  </a:lnTo>
                  <a:lnTo>
                    <a:pt x="1128732" y="516614"/>
                  </a:lnTo>
                  <a:lnTo>
                    <a:pt x="1130807" y="565404"/>
                  </a:lnTo>
                  <a:lnTo>
                    <a:pt x="1128732" y="614193"/>
                  </a:lnTo>
                  <a:lnTo>
                    <a:pt x="1122620" y="661829"/>
                  </a:lnTo>
                  <a:lnTo>
                    <a:pt x="1112640" y="708142"/>
                  </a:lnTo>
                  <a:lnTo>
                    <a:pt x="1098962" y="752963"/>
                  </a:lnTo>
                  <a:lnTo>
                    <a:pt x="1081756" y="796121"/>
                  </a:lnTo>
                  <a:lnTo>
                    <a:pt x="1061192" y="837447"/>
                  </a:lnTo>
                  <a:lnTo>
                    <a:pt x="1037438" y="876773"/>
                  </a:lnTo>
                  <a:lnTo>
                    <a:pt x="1010665" y="913926"/>
                  </a:lnTo>
                  <a:lnTo>
                    <a:pt x="981042" y="948740"/>
                  </a:lnTo>
                  <a:lnTo>
                    <a:pt x="948740" y="981042"/>
                  </a:lnTo>
                  <a:lnTo>
                    <a:pt x="913926" y="1010665"/>
                  </a:lnTo>
                  <a:lnTo>
                    <a:pt x="876773" y="1037438"/>
                  </a:lnTo>
                  <a:lnTo>
                    <a:pt x="837447" y="1061192"/>
                  </a:lnTo>
                  <a:lnTo>
                    <a:pt x="796121" y="1081756"/>
                  </a:lnTo>
                  <a:lnTo>
                    <a:pt x="752963" y="1098962"/>
                  </a:lnTo>
                  <a:lnTo>
                    <a:pt x="708142" y="1112640"/>
                  </a:lnTo>
                  <a:lnTo>
                    <a:pt x="661829" y="1122620"/>
                  </a:lnTo>
                  <a:lnTo>
                    <a:pt x="614193" y="1128732"/>
                  </a:lnTo>
                  <a:lnTo>
                    <a:pt x="565403" y="1130808"/>
                  </a:lnTo>
                  <a:lnTo>
                    <a:pt x="516614" y="1128732"/>
                  </a:lnTo>
                  <a:lnTo>
                    <a:pt x="468978" y="1122620"/>
                  </a:lnTo>
                  <a:lnTo>
                    <a:pt x="422665" y="1112640"/>
                  </a:lnTo>
                  <a:lnTo>
                    <a:pt x="377844" y="1098962"/>
                  </a:lnTo>
                  <a:lnTo>
                    <a:pt x="334686" y="1081756"/>
                  </a:lnTo>
                  <a:lnTo>
                    <a:pt x="293360" y="1061192"/>
                  </a:lnTo>
                  <a:lnTo>
                    <a:pt x="254034" y="1037438"/>
                  </a:lnTo>
                  <a:lnTo>
                    <a:pt x="216881" y="1010665"/>
                  </a:lnTo>
                  <a:lnTo>
                    <a:pt x="182067" y="981042"/>
                  </a:lnTo>
                  <a:lnTo>
                    <a:pt x="149765" y="948740"/>
                  </a:lnTo>
                  <a:lnTo>
                    <a:pt x="120142" y="913926"/>
                  </a:lnTo>
                  <a:lnTo>
                    <a:pt x="93369" y="876773"/>
                  </a:lnTo>
                  <a:lnTo>
                    <a:pt x="69615" y="837447"/>
                  </a:lnTo>
                  <a:lnTo>
                    <a:pt x="49051" y="796121"/>
                  </a:lnTo>
                  <a:lnTo>
                    <a:pt x="31845" y="752963"/>
                  </a:lnTo>
                  <a:lnTo>
                    <a:pt x="18167" y="708142"/>
                  </a:lnTo>
                  <a:lnTo>
                    <a:pt x="8187" y="661829"/>
                  </a:lnTo>
                  <a:lnTo>
                    <a:pt x="2075" y="614193"/>
                  </a:lnTo>
                  <a:lnTo>
                    <a:pt x="0" y="565404"/>
                  </a:lnTo>
                  <a:close/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23" name="TextBox 22">
            <a:extLst>
              <a:ext uri="{FF2B5EF4-FFF2-40B4-BE49-F238E27FC236}">
                <a16:creationId xmlns:a16="http://schemas.microsoft.com/office/drawing/2014/main" id="{7BA73519-AF16-46D2-B536-47B6CB5C43F2}"/>
              </a:ext>
            </a:extLst>
          </p:cNvPr>
          <p:cNvSpPr txBox="1"/>
          <p:nvPr/>
        </p:nvSpPr>
        <p:spPr>
          <a:xfrm>
            <a:off x="400318" y="2119769"/>
            <a:ext cx="994499" cy="184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b-NO"/>
            </a:defPPr>
            <a:lvl1pPr>
              <a:defRPr sz="800" b="1">
                <a:solidFill>
                  <a:srgbClr val="5C5C5C"/>
                </a:solidFill>
                <a:latin typeface="Open San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err="1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Behovshaver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24" name="object 65">
            <a:extLst>
              <a:ext uri="{FF2B5EF4-FFF2-40B4-BE49-F238E27FC236}">
                <a16:creationId xmlns:a16="http://schemas.microsoft.com/office/drawing/2014/main" id="{B5BEEF05-5809-4D4A-9EEC-B26799C508D7}"/>
              </a:ext>
            </a:extLst>
          </p:cNvPr>
          <p:cNvSpPr/>
          <p:nvPr/>
        </p:nvSpPr>
        <p:spPr>
          <a:xfrm rot="2636572" flipV="1">
            <a:off x="1090904" y="3029964"/>
            <a:ext cx="767139" cy="203044"/>
          </a:xfrm>
          <a:custGeom>
            <a:avLst/>
            <a:gdLst/>
            <a:ahLst/>
            <a:cxnLst/>
            <a:rect l="l" t="t" r="r" b="b"/>
            <a:pathLst>
              <a:path w="1685289" h="352425">
                <a:moveTo>
                  <a:pt x="1621144" y="306764"/>
                </a:moveTo>
                <a:lnTo>
                  <a:pt x="1602486" y="327913"/>
                </a:lnTo>
                <a:lnTo>
                  <a:pt x="1684782" y="349758"/>
                </a:lnTo>
                <a:lnTo>
                  <a:pt x="1670790" y="315087"/>
                </a:lnTo>
                <a:lnTo>
                  <a:pt x="1631188" y="315087"/>
                </a:lnTo>
                <a:lnTo>
                  <a:pt x="1621144" y="306764"/>
                </a:lnTo>
                <a:close/>
              </a:path>
              <a:path w="1685289" h="352425">
                <a:moveTo>
                  <a:pt x="1633736" y="292491"/>
                </a:moveTo>
                <a:lnTo>
                  <a:pt x="1621144" y="306764"/>
                </a:lnTo>
                <a:lnTo>
                  <a:pt x="1631188" y="315087"/>
                </a:lnTo>
                <a:lnTo>
                  <a:pt x="1643380" y="300482"/>
                </a:lnTo>
                <a:lnTo>
                  <a:pt x="1633736" y="292491"/>
                </a:lnTo>
                <a:close/>
              </a:path>
              <a:path w="1685289" h="352425">
                <a:moveTo>
                  <a:pt x="1652905" y="270763"/>
                </a:moveTo>
                <a:lnTo>
                  <a:pt x="1633736" y="292491"/>
                </a:lnTo>
                <a:lnTo>
                  <a:pt x="1643380" y="300482"/>
                </a:lnTo>
                <a:lnTo>
                  <a:pt x="1631188" y="315087"/>
                </a:lnTo>
                <a:lnTo>
                  <a:pt x="1670790" y="315087"/>
                </a:lnTo>
                <a:lnTo>
                  <a:pt x="1652905" y="270763"/>
                </a:lnTo>
                <a:close/>
              </a:path>
              <a:path w="1685289" h="352425">
                <a:moveTo>
                  <a:pt x="1583689" y="252222"/>
                </a:moveTo>
                <a:lnTo>
                  <a:pt x="1572387" y="267588"/>
                </a:lnTo>
                <a:lnTo>
                  <a:pt x="1585976" y="277622"/>
                </a:lnTo>
                <a:lnTo>
                  <a:pt x="1621144" y="306764"/>
                </a:lnTo>
                <a:lnTo>
                  <a:pt x="1633736" y="292491"/>
                </a:lnTo>
                <a:lnTo>
                  <a:pt x="1598168" y="263017"/>
                </a:lnTo>
                <a:lnTo>
                  <a:pt x="1583689" y="252222"/>
                </a:lnTo>
                <a:close/>
              </a:path>
              <a:path w="1685289" h="352425">
                <a:moveTo>
                  <a:pt x="1472311" y="177292"/>
                </a:moveTo>
                <a:lnTo>
                  <a:pt x="1462532" y="193675"/>
                </a:lnTo>
                <a:lnTo>
                  <a:pt x="1488567" y="209296"/>
                </a:lnTo>
                <a:lnTo>
                  <a:pt x="1526286" y="234442"/>
                </a:lnTo>
                <a:lnTo>
                  <a:pt x="1536954" y="218694"/>
                </a:lnTo>
                <a:lnTo>
                  <a:pt x="1499108" y="193421"/>
                </a:lnTo>
                <a:lnTo>
                  <a:pt x="1472311" y="177292"/>
                </a:lnTo>
                <a:close/>
              </a:path>
              <a:path w="1685289" h="352425">
                <a:moveTo>
                  <a:pt x="1353693" y="114553"/>
                </a:moveTo>
                <a:lnTo>
                  <a:pt x="1345564" y="131825"/>
                </a:lnTo>
                <a:lnTo>
                  <a:pt x="1386586" y="151384"/>
                </a:lnTo>
                <a:lnTo>
                  <a:pt x="1413256" y="165608"/>
                </a:lnTo>
                <a:lnTo>
                  <a:pt x="1422273" y="148844"/>
                </a:lnTo>
                <a:lnTo>
                  <a:pt x="1395602" y="134493"/>
                </a:lnTo>
                <a:lnTo>
                  <a:pt x="1353693" y="114553"/>
                </a:lnTo>
                <a:close/>
              </a:path>
              <a:path w="1685289" h="352425">
                <a:moveTo>
                  <a:pt x="1228725" y="64770"/>
                </a:moveTo>
                <a:lnTo>
                  <a:pt x="1223010" y="82931"/>
                </a:lnTo>
                <a:lnTo>
                  <a:pt x="1226820" y="84200"/>
                </a:lnTo>
                <a:lnTo>
                  <a:pt x="1280922" y="103886"/>
                </a:lnTo>
                <a:lnTo>
                  <a:pt x="1293495" y="109220"/>
                </a:lnTo>
                <a:lnTo>
                  <a:pt x="1300861" y="91694"/>
                </a:lnTo>
                <a:lnTo>
                  <a:pt x="1288288" y="86360"/>
                </a:lnTo>
                <a:lnTo>
                  <a:pt x="1233424" y="66294"/>
                </a:lnTo>
                <a:lnTo>
                  <a:pt x="1228725" y="64770"/>
                </a:lnTo>
                <a:close/>
              </a:path>
              <a:path w="1685289" h="352425">
                <a:moveTo>
                  <a:pt x="1099312" y="29210"/>
                </a:moveTo>
                <a:lnTo>
                  <a:pt x="1095375" y="47751"/>
                </a:lnTo>
                <a:lnTo>
                  <a:pt x="1116965" y="52450"/>
                </a:lnTo>
                <a:lnTo>
                  <a:pt x="1168781" y="66039"/>
                </a:lnTo>
                <a:lnTo>
                  <a:pt x="1173734" y="47625"/>
                </a:lnTo>
                <a:lnTo>
                  <a:pt x="1121918" y="34036"/>
                </a:lnTo>
                <a:lnTo>
                  <a:pt x="1099312" y="29210"/>
                </a:lnTo>
                <a:close/>
              </a:path>
              <a:path w="1685289" h="352425">
                <a:moveTo>
                  <a:pt x="966978" y="7365"/>
                </a:moveTo>
                <a:lnTo>
                  <a:pt x="964692" y="26288"/>
                </a:lnTo>
                <a:lnTo>
                  <a:pt x="1005459" y="31114"/>
                </a:lnTo>
                <a:lnTo>
                  <a:pt x="1039749" y="36957"/>
                </a:lnTo>
                <a:lnTo>
                  <a:pt x="1042797" y="18161"/>
                </a:lnTo>
                <a:lnTo>
                  <a:pt x="1008634" y="12446"/>
                </a:lnTo>
                <a:lnTo>
                  <a:pt x="966978" y="7365"/>
                </a:lnTo>
                <a:close/>
              </a:path>
              <a:path w="1685289" h="352425">
                <a:moveTo>
                  <a:pt x="837057" y="0"/>
                </a:moveTo>
                <a:lnTo>
                  <a:pt x="832612" y="0"/>
                </a:lnTo>
                <a:lnTo>
                  <a:pt x="832993" y="19050"/>
                </a:lnTo>
                <a:lnTo>
                  <a:pt x="836549" y="19050"/>
                </a:lnTo>
                <a:lnTo>
                  <a:pt x="892937" y="20447"/>
                </a:lnTo>
                <a:lnTo>
                  <a:pt x="908177" y="21462"/>
                </a:lnTo>
                <a:lnTo>
                  <a:pt x="909574" y="2539"/>
                </a:lnTo>
                <a:lnTo>
                  <a:pt x="894334" y="1397"/>
                </a:lnTo>
                <a:lnTo>
                  <a:pt x="837057" y="0"/>
                </a:lnTo>
                <a:close/>
              </a:path>
              <a:path w="1685289" h="352425">
                <a:moveTo>
                  <a:pt x="774954" y="1397"/>
                </a:moveTo>
                <a:lnTo>
                  <a:pt x="722884" y="4952"/>
                </a:lnTo>
                <a:lnTo>
                  <a:pt x="698627" y="7747"/>
                </a:lnTo>
                <a:lnTo>
                  <a:pt x="700786" y="26670"/>
                </a:lnTo>
                <a:lnTo>
                  <a:pt x="724281" y="24002"/>
                </a:lnTo>
                <a:lnTo>
                  <a:pt x="776224" y="20447"/>
                </a:lnTo>
                <a:lnTo>
                  <a:pt x="774954" y="1397"/>
                </a:lnTo>
                <a:close/>
              </a:path>
              <a:path w="1685289" h="352425">
                <a:moveTo>
                  <a:pt x="641604" y="15494"/>
                </a:moveTo>
                <a:lnTo>
                  <a:pt x="609854" y="20574"/>
                </a:lnTo>
                <a:lnTo>
                  <a:pt x="566293" y="29845"/>
                </a:lnTo>
                <a:lnTo>
                  <a:pt x="570230" y="48513"/>
                </a:lnTo>
                <a:lnTo>
                  <a:pt x="612902" y="39370"/>
                </a:lnTo>
                <a:lnTo>
                  <a:pt x="644652" y="34289"/>
                </a:lnTo>
                <a:lnTo>
                  <a:pt x="641604" y="15494"/>
                </a:lnTo>
                <a:close/>
              </a:path>
              <a:path w="1685289" h="352425">
                <a:moveTo>
                  <a:pt x="510413" y="43814"/>
                </a:moveTo>
                <a:lnTo>
                  <a:pt x="498602" y="46989"/>
                </a:lnTo>
                <a:lnTo>
                  <a:pt x="443992" y="64135"/>
                </a:lnTo>
                <a:lnTo>
                  <a:pt x="436753" y="66801"/>
                </a:lnTo>
                <a:lnTo>
                  <a:pt x="443357" y="84709"/>
                </a:lnTo>
                <a:lnTo>
                  <a:pt x="449707" y="82296"/>
                </a:lnTo>
                <a:lnTo>
                  <a:pt x="503555" y="65405"/>
                </a:lnTo>
                <a:lnTo>
                  <a:pt x="515239" y="62357"/>
                </a:lnTo>
                <a:lnTo>
                  <a:pt x="510413" y="43814"/>
                </a:lnTo>
                <a:close/>
              </a:path>
              <a:path w="1685289" h="352425">
                <a:moveTo>
                  <a:pt x="382905" y="86995"/>
                </a:moveTo>
                <a:lnTo>
                  <a:pt x="337185" y="106425"/>
                </a:lnTo>
                <a:lnTo>
                  <a:pt x="312928" y="118237"/>
                </a:lnTo>
                <a:lnTo>
                  <a:pt x="321183" y="135382"/>
                </a:lnTo>
                <a:lnTo>
                  <a:pt x="344678" y="123951"/>
                </a:lnTo>
                <a:lnTo>
                  <a:pt x="390398" y="104521"/>
                </a:lnTo>
                <a:lnTo>
                  <a:pt x="382905" y="86995"/>
                </a:lnTo>
                <a:close/>
              </a:path>
              <a:path w="1685289" h="352425">
                <a:moveTo>
                  <a:pt x="261620" y="144525"/>
                </a:moveTo>
                <a:lnTo>
                  <a:pt x="234442" y="159385"/>
                </a:lnTo>
                <a:lnTo>
                  <a:pt x="195580" y="183387"/>
                </a:lnTo>
                <a:lnTo>
                  <a:pt x="205486" y="199517"/>
                </a:lnTo>
                <a:lnTo>
                  <a:pt x="243586" y="176149"/>
                </a:lnTo>
                <a:lnTo>
                  <a:pt x="270764" y="161289"/>
                </a:lnTo>
                <a:lnTo>
                  <a:pt x="261620" y="144525"/>
                </a:lnTo>
                <a:close/>
              </a:path>
              <a:path w="1685289" h="352425">
                <a:moveTo>
                  <a:pt x="147574" y="215392"/>
                </a:moveTo>
                <a:lnTo>
                  <a:pt x="136398" y="223138"/>
                </a:lnTo>
                <a:lnTo>
                  <a:pt x="89408" y="258952"/>
                </a:lnTo>
                <a:lnTo>
                  <a:pt x="85979" y="261747"/>
                </a:lnTo>
                <a:lnTo>
                  <a:pt x="98298" y="276225"/>
                </a:lnTo>
                <a:lnTo>
                  <a:pt x="100837" y="274065"/>
                </a:lnTo>
                <a:lnTo>
                  <a:pt x="147193" y="238760"/>
                </a:lnTo>
                <a:lnTo>
                  <a:pt x="158369" y="231139"/>
                </a:lnTo>
                <a:lnTo>
                  <a:pt x="147574" y="215392"/>
                </a:lnTo>
                <a:close/>
              </a:path>
              <a:path w="1685289" h="352425">
                <a:moveTo>
                  <a:pt x="42037" y="299085"/>
                </a:moveTo>
                <a:lnTo>
                  <a:pt x="0" y="338582"/>
                </a:lnTo>
                <a:lnTo>
                  <a:pt x="13081" y="352425"/>
                </a:lnTo>
                <a:lnTo>
                  <a:pt x="55118" y="313055"/>
                </a:lnTo>
                <a:lnTo>
                  <a:pt x="42037" y="299085"/>
                </a:lnTo>
                <a:close/>
              </a:path>
            </a:pathLst>
          </a:custGeom>
          <a:solidFill>
            <a:srgbClr val="A6A6A6"/>
          </a:solidFill>
          <a:ln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25" name="object 21">
            <a:extLst>
              <a:ext uri="{FF2B5EF4-FFF2-40B4-BE49-F238E27FC236}">
                <a16:creationId xmlns:a16="http://schemas.microsoft.com/office/drawing/2014/main" id="{668B59D2-01C8-478E-9DBC-4745A455120B}"/>
              </a:ext>
            </a:extLst>
          </p:cNvPr>
          <p:cNvSpPr txBox="1"/>
          <p:nvPr/>
        </p:nvSpPr>
        <p:spPr>
          <a:xfrm>
            <a:off x="224951" y="3147714"/>
            <a:ext cx="1052868" cy="4154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nb-NO"/>
            </a:defPPr>
            <a:lvl1pPr marL="12700" marR="5080" indent="635" algn="ctr">
              <a:defRPr sz="900" spc="-10">
                <a:solidFill>
                  <a:srgbClr val="000000"/>
                </a:solidFill>
                <a:latin typeface="Open Sans"/>
                <a:cs typeface="Verdana"/>
              </a:defRPr>
            </a:lvl1pPr>
          </a:lstStyle>
          <a:p>
            <a:pPr marL="12700" marR="5080" lvl="0" indent="635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-1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</a:rPr>
              <a:t>Melder </a:t>
            </a:r>
            <a:r>
              <a:rPr kumimoji="0" lang="en-US" sz="900" b="0" i="0" u="none" strike="noStrike" kern="1200" cap="none" spc="-1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</a:rPr>
              <a:t>behov</a:t>
            </a:r>
            <a:r>
              <a:rPr kumimoji="0" lang="en-US" sz="900" b="0" i="0" u="none" strike="noStrike" kern="1200" cap="none" spc="-1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</a:rPr>
              <a:t> via </a:t>
            </a:r>
            <a:r>
              <a:rPr kumimoji="0" lang="en-US" sz="900" b="0" i="0" u="none" strike="noStrike" kern="1200" cap="none" spc="-1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</a:rPr>
              <a:t>behovsinnmelidngs-skjema</a:t>
            </a:r>
            <a:endParaRPr kumimoji="0" sz="900" b="0" i="0" u="none" strike="noStrike" kern="1200" cap="none" spc="-1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</a:endParaRPr>
          </a:p>
        </p:txBody>
      </p:sp>
      <p:sp>
        <p:nvSpPr>
          <p:cNvPr id="26" name="object 65">
            <a:extLst>
              <a:ext uri="{FF2B5EF4-FFF2-40B4-BE49-F238E27FC236}">
                <a16:creationId xmlns:a16="http://schemas.microsoft.com/office/drawing/2014/main" id="{4DBB2AC9-6D28-4388-A9A5-EE08E7F0C3A1}"/>
              </a:ext>
            </a:extLst>
          </p:cNvPr>
          <p:cNvSpPr/>
          <p:nvPr/>
        </p:nvSpPr>
        <p:spPr>
          <a:xfrm rot="18869929">
            <a:off x="2175501" y="2448836"/>
            <a:ext cx="730989" cy="110109"/>
          </a:xfrm>
          <a:custGeom>
            <a:avLst/>
            <a:gdLst/>
            <a:ahLst/>
            <a:cxnLst/>
            <a:rect l="l" t="t" r="r" b="b"/>
            <a:pathLst>
              <a:path w="1685289" h="352425">
                <a:moveTo>
                  <a:pt x="1621144" y="306764"/>
                </a:moveTo>
                <a:lnTo>
                  <a:pt x="1602486" y="327913"/>
                </a:lnTo>
                <a:lnTo>
                  <a:pt x="1684782" y="349758"/>
                </a:lnTo>
                <a:lnTo>
                  <a:pt x="1670790" y="315087"/>
                </a:lnTo>
                <a:lnTo>
                  <a:pt x="1631188" y="315087"/>
                </a:lnTo>
                <a:lnTo>
                  <a:pt x="1621144" y="306764"/>
                </a:lnTo>
                <a:close/>
              </a:path>
              <a:path w="1685289" h="352425">
                <a:moveTo>
                  <a:pt x="1633736" y="292491"/>
                </a:moveTo>
                <a:lnTo>
                  <a:pt x="1621144" y="306764"/>
                </a:lnTo>
                <a:lnTo>
                  <a:pt x="1631188" y="315087"/>
                </a:lnTo>
                <a:lnTo>
                  <a:pt x="1643380" y="300482"/>
                </a:lnTo>
                <a:lnTo>
                  <a:pt x="1633736" y="292491"/>
                </a:lnTo>
                <a:close/>
              </a:path>
              <a:path w="1685289" h="352425">
                <a:moveTo>
                  <a:pt x="1652905" y="270763"/>
                </a:moveTo>
                <a:lnTo>
                  <a:pt x="1633736" y="292491"/>
                </a:lnTo>
                <a:lnTo>
                  <a:pt x="1643380" y="300482"/>
                </a:lnTo>
                <a:lnTo>
                  <a:pt x="1631188" y="315087"/>
                </a:lnTo>
                <a:lnTo>
                  <a:pt x="1670790" y="315087"/>
                </a:lnTo>
                <a:lnTo>
                  <a:pt x="1652905" y="270763"/>
                </a:lnTo>
                <a:close/>
              </a:path>
              <a:path w="1685289" h="352425">
                <a:moveTo>
                  <a:pt x="1583689" y="252222"/>
                </a:moveTo>
                <a:lnTo>
                  <a:pt x="1572387" y="267588"/>
                </a:lnTo>
                <a:lnTo>
                  <a:pt x="1585976" y="277622"/>
                </a:lnTo>
                <a:lnTo>
                  <a:pt x="1621144" y="306764"/>
                </a:lnTo>
                <a:lnTo>
                  <a:pt x="1633736" y="292491"/>
                </a:lnTo>
                <a:lnTo>
                  <a:pt x="1598168" y="263017"/>
                </a:lnTo>
                <a:lnTo>
                  <a:pt x="1583689" y="252222"/>
                </a:lnTo>
                <a:close/>
              </a:path>
              <a:path w="1685289" h="352425">
                <a:moveTo>
                  <a:pt x="1472311" y="177292"/>
                </a:moveTo>
                <a:lnTo>
                  <a:pt x="1462532" y="193675"/>
                </a:lnTo>
                <a:lnTo>
                  <a:pt x="1488567" y="209296"/>
                </a:lnTo>
                <a:lnTo>
                  <a:pt x="1526286" y="234442"/>
                </a:lnTo>
                <a:lnTo>
                  <a:pt x="1536954" y="218694"/>
                </a:lnTo>
                <a:lnTo>
                  <a:pt x="1499108" y="193421"/>
                </a:lnTo>
                <a:lnTo>
                  <a:pt x="1472311" y="177292"/>
                </a:lnTo>
                <a:close/>
              </a:path>
              <a:path w="1685289" h="352425">
                <a:moveTo>
                  <a:pt x="1353693" y="114553"/>
                </a:moveTo>
                <a:lnTo>
                  <a:pt x="1345564" y="131825"/>
                </a:lnTo>
                <a:lnTo>
                  <a:pt x="1386586" y="151384"/>
                </a:lnTo>
                <a:lnTo>
                  <a:pt x="1413256" y="165608"/>
                </a:lnTo>
                <a:lnTo>
                  <a:pt x="1422273" y="148844"/>
                </a:lnTo>
                <a:lnTo>
                  <a:pt x="1395602" y="134493"/>
                </a:lnTo>
                <a:lnTo>
                  <a:pt x="1353693" y="114553"/>
                </a:lnTo>
                <a:close/>
              </a:path>
              <a:path w="1685289" h="352425">
                <a:moveTo>
                  <a:pt x="1228725" y="64770"/>
                </a:moveTo>
                <a:lnTo>
                  <a:pt x="1223010" y="82931"/>
                </a:lnTo>
                <a:lnTo>
                  <a:pt x="1226820" y="84200"/>
                </a:lnTo>
                <a:lnTo>
                  <a:pt x="1280922" y="103886"/>
                </a:lnTo>
                <a:lnTo>
                  <a:pt x="1293495" y="109220"/>
                </a:lnTo>
                <a:lnTo>
                  <a:pt x="1300861" y="91694"/>
                </a:lnTo>
                <a:lnTo>
                  <a:pt x="1288288" y="86360"/>
                </a:lnTo>
                <a:lnTo>
                  <a:pt x="1233424" y="66294"/>
                </a:lnTo>
                <a:lnTo>
                  <a:pt x="1228725" y="64770"/>
                </a:lnTo>
                <a:close/>
              </a:path>
              <a:path w="1685289" h="352425">
                <a:moveTo>
                  <a:pt x="1099312" y="29210"/>
                </a:moveTo>
                <a:lnTo>
                  <a:pt x="1095375" y="47751"/>
                </a:lnTo>
                <a:lnTo>
                  <a:pt x="1116965" y="52450"/>
                </a:lnTo>
                <a:lnTo>
                  <a:pt x="1168781" y="66039"/>
                </a:lnTo>
                <a:lnTo>
                  <a:pt x="1173734" y="47625"/>
                </a:lnTo>
                <a:lnTo>
                  <a:pt x="1121918" y="34036"/>
                </a:lnTo>
                <a:lnTo>
                  <a:pt x="1099312" y="29210"/>
                </a:lnTo>
                <a:close/>
              </a:path>
              <a:path w="1685289" h="352425">
                <a:moveTo>
                  <a:pt x="966978" y="7365"/>
                </a:moveTo>
                <a:lnTo>
                  <a:pt x="964692" y="26288"/>
                </a:lnTo>
                <a:lnTo>
                  <a:pt x="1005459" y="31114"/>
                </a:lnTo>
                <a:lnTo>
                  <a:pt x="1039749" y="36957"/>
                </a:lnTo>
                <a:lnTo>
                  <a:pt x="1042797" y="18161"/>
                </a:lnTo>
                <a:lnTo>
                  <a:pt x="1008634" y="12446"/>
                </a:lnTo>
                <a:lnTo>
                  <a:pt x="966978" y="7365"/>
                </a:lnTo>
                <a:close/>
              </a:path>
              <a:path w="1685289" h="352425">
                <a:moveTo>
                  <a:pt x="837057" y="0"/>
                </a:moveTo>
                <a:lnTo>
                  <a:pt x="832612" y="0"/>
                </a:lnTo>
                <a:lnTo>
                  <a:pt x="832993" y="19050"/>
                </a:lnTo>
                <a:lnTo>
                  <a:pt x="836549" y="19050"/>
                </a:lnTo>
                <a:lnTo>
                  <a:pt x="892937" y="20447"/>
                </a:lnTo>
                <a:lnTo>
                  <a:pt x="908177" y="21462"/>
                </a:lnTo>
                <a:lnTo>
                  <a:pt x="909574" y="2539"/>
                </a:lnTo>
                <a:lnTo>
                  <a:pt x="894334" y="1397"/>
                </a:lnTo>
                <a:lnTo>
                  <a:pt x="837057" y="0"/>
                </a:lnTo>
                <a:close/>
              </a:path>
              <a:path w="1685289" h="352425">
                <a:moveTo>
                  <a:pt x="774954" y="1397"/>
                </a:moveTo>
                <a:lnTo>
                  <a:pt x="722884" y="4952"/>
                </a:lnTo>
                <a:lnTo>
                  <a:pt x="698627" y="7747"/>
                </a:lnTo>
                <a:lnTo>
                  <a:pt x="700786" y="26670"/>
                </a:lnTo>
                <a:lnTo>
                  <a:pt x="724281" y="24002"/>
                </a:lnTo>
                <a:lnTo>
                  <a:pt x="776224" y="20447"/>
                </a:lnTo>
                <a:lnTo>
                  <a:pt x="774954" y="1397"/>
                </a:lnTo>
                <a:close/>
              </a:path>
              <a:path w="1685289" h="352425">
                <a:moveTo>
                  <a:pt x="641604" y="15494"/>
                </a:moveTo>
                <a:lnTo>
                  <a:pt x="609854" y="20574"/>
                </a:lnTo>
                <a:lnTo>
                  <a:pt x="566293" y="29845"/>
                </a:lnTo>
                <a:lnTo>
                  <a:pt x="570230" y="48513"/>
                </a:lnTo>
                <a:lnTo>
                  <a:pt x="612902" y="39370"/>
                </a:lnTo>
                <a:lnTo>
                  <a:pt x="644652" y="34289"/>
                </a:lnTo>
                <a:lnTo>
                  <a:pt x="641604" y="15494"/>
                </a:lnTo>
                <a:close/>
              </a:path>
              <a:path w="1685289" h="352425">
                <a:moveTo>
                  <a:pt x="510413" y="43814"/>
                </a:moveTo>
                <a:lnTo>
                  <a:pt x="498602" y="46989"/>
                </a:lnTo>
                <a:lnTo>
                  <a:pt x="443992" y="64135"/>
                </a:lnTo>
                <a:lnTo>
                  <a:pt x="436753" y="66801"/>
                </a:lnTo>
                <a:lnTo>
                  <a:pt x="443357" y="84709"/>
                </a:lnTo>
                <a:lnTo>
                  <a:pt x="449707" y="82296"/>
                </a:lnTo>
                <a:lnTo>
                  <a:pt x="503555" y="65405"/>
                </a:lnTo>
                <a:lnTo>
                  <a:pt x="515239" y="62357"/>
                </a:lnTo>
                <a:lnTo>
                  <a:pt x="510413" y="43814"/>
                </a:lnTo>
                <a:close/>
              </a:path>
              <a:path w="1685289" h="352425">
                <a:moveTo>
                  <a:pt x="382905" y="86995"/>
                </a:moveTo>
                <a:lnTo>
                  <a:pt x="337185" y="106425"/>
                </a:lnTo>
                <a:lnTo>
                  <a:pt x="312928" y="118237"/>
                </a:lnTo>
                <a:lnTo>
                  <a:pt x="321183" y="135382"/>
                </a:lnTo>
                <a:lnTo>
                  <a:pt x="344678" y="123951"/>
                </a:lnTo>
                <a:lnTo>
                  <a:pt x="390398" y="104521"/>
                </a:lnTo>
                <a:lnTo>
                  <a:pt x="382905" y="86995"/>
                </a:lnTo>
                <a:close/>
              </a:path>
              <a:path w="1685289" h="352425">
                <a:moveTo>
                  <a:pt x="261620" y="144525"/>
                </a:moveTo>
                <a:lnTo>
                  <a:pt x="234442" y="159385"/>
                </a:lnTo>
                <a:lnTo>
                  <a:pt x="195580" y="183387"/>
                </a:lnTo>
                <a:lnTo>
                  <a:pt x="205486" y="199517"/>
                </a:lnTo>
                <a:lnTo>
                  <a:pt x="243586" y="176149"/>
                </a:lnTo>
                <a:lnTo>
                  <a:pt x="270764" y="161289"/>
                </a:lnTo>
                <a:lnTo>
                  <a:pt x="261620" y="144525"/>
                </a:lnTo>
                <a:close/>
              </a:path>
              <a:path w="1685289" h="352425">
                <a:moveTo>
                  <a:pt x="147574" y="215392"/>
                </a:moveTo>
                <a:lnTo>
                  <a:pt x="136398" y="223138"/>
                </a:lnTo>
                <a:lnTo>
                  <a:pt x="89408" y="258952"/>
                </a:lnTo>
                <a:lnTo>
                  <a:pt x="85979" y="261747"/>
                </a:lnTo>
                <a:lnTo>
                  <a:pt x="98298" y="276225"/>
                </a:lnTo>
                <a:lnTo>
                  <a:pt x="100837" y="274065"/>
                </a:lnTo>
                <a:lnTo>
                  <a:pt x="147193" y="238760"/>
                </a:lnTo>
                <a:lnTo>
                  <a:pt x="158369" y="231139"/>
                </a:lnTo>
                <a:lnTo>
                  <a:pt x="147574" y="215392"/>
                </a:lnTo>
                <a:close/>
              </a:path>
              <a:path w="1685289" h="352425">
                <a:moveTo>
                  <a:pt x="42037" y="299085"/>
                </a:moveTo>
                <a:lnTo>
                  <a:pt x="0" y="338582"/>
                </a:lnTo>
                <a:lnTo>
                  <a:pt x="13081" y="352425"/>
                </a:lnTo>
                <a:lnTo>
                  <a:pt x="55118" y="313055"/>
                </a:lnTo>
                <a:lnTo>
                  <a:pt x="42037" y="299085"/>
                </a:lnTo>
                <a:close/>
              </a:path>
            </a:pathLst>
          </a:custGeom>
          <a:solidFill>
            <a:srgbClr val="A6A6A6"/>
          </a:solidFill>
          <a:ln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7171E72E-AE84-4153-BE9B-2602EDA2E595}"/>
              </a:ext>
            </a:extLst>
          </p:cNvPr>
          <p:cNvGrpSpPr/>
          <p:nvPr/>
        </p:nvGrpSpPr>
        <p:grpSpPr>
          <a:xfrm>
            <a:off x="1948239" y="2927755"/>
            <a:ext cx="1391579" cy="1248063"/>
            <a:chOff x="2682578" y="3293298"/>
            <a:chExt cx="1360606" cy="1224343"/>
          </a:xfrm>
        </p:grpSpPr>
        <p:sp>
          <p:nvSpPr>
            <p:cNvPr id="69" name="object 17">
              <a:extLst>
                <a:ext uri="{FF2B5EF4-FFF2-40B4-BE49-F238E27FC236}">
                  <a16:creationId xmlns:a16="http://schemas.microsoft.com/office/drawing/2014/main" id="{99497F66-8F31-42B3-8E73-8947A452376A}"/>
                </a:ext>
              </a:extLst>
            </p:cNvPr>
            <p:cNvSpPr/>
            <p:nvPr/>
          </p:nvSpPr>
          <p:spPr>
            <a:xfrm>
              <a:off x="2751325" y="3356273"/>
              <a:ext cx="1041190" cy="1161368"/>
            </a:xfrm>
            <a:custGeom>
              <a:avLst/>
              <a:gdLst/>
              <a:ahLst/>
              <a:cxnLst/>
              <a:rect l="l" t="t" r="r" b="b"/>
              <a:pathLst>
                <a:path w="1259839" h="1405254">
                  <a:moveTo>
                    <a:pt x="556132" y="0"/>
                  </a:moveTo>
                  <a:lnTo>
                    <a:pt x="604293" y="1620"/>
                  </a:lnTo>
                  <a:lnTo>
                    <a:pt x="651582" y="6414"/>
                  </a:lnTo>
                  <a:lnTo>
                    <a:pt x="697894" y="14274"/>
                  </a:lnTo>
                  <a:lnTo>
                    <a:pt x="743124" y="25098"/>
                  </a:lnTo>
                  <a:lnTo>
                    <a:pt x="787169" y="38780"/>
                  </a:lnTo>
                  <a:lnTo>
                    <a:pt x="829923" y="55215"/>
                  </a:lnTo>
                  <a:lnTo>
                    <a:pt x="871281" y="74299"/>
                  </a:lnTo>
                  <a:lnTo>
                    <a:pt x="911140" y="95927"/>
                  </a:lnTo>
                  <a:lnTo>
                    <a:pt x="949394" y="119994"/>
                  </a:lnTo>
                  <a:lnTo>
                    <a:pt x="985938" y="146397"/>
                  </a:lnTo>
                  <a:lnTo>
                    <a:pt x="1020669" y="175029"/>
                  </a:lnTo>
                  <a:lnTo>
                    <a:pt x="1053480" y="205787"/>
                  </a:lnTo>
                  <a:lnTo>
                    <a:pt x="1084269" y="238566"/>
                  </a:lnTo>
                  <a:lnTo>
                    <a:pt x="1112929" y="273261"/>
                  </a:lnTo>
                  <a:lnTo>
                    <a:pt x="1139356" y="309767"/>
                  </a:lnTo>
                  <a:lnTo>
                    <a:pt x="1163447" y="347980"/>
                  </a:lnTo>
                  <a:lnTo>
                    <a:pt x="1185094" y="387794"/>
                  </a:lnTo>
                  <a:lnTo>
                    <a:pt x="1204196" y="429107"/>
                  </a:lnTo>
                  <a:lnTo>
                    <a:pt x="1220645" y="471812"/>
                  </a:lnTo>
                  <a:lnTo>
                    <a:pt x="1234339" y="515805"/>
                  </a:lnTo>
                  <a:lnTo>
                    <a:pt x="1245172" y="560981"/>
                  </a:lnTo>
                  <a:lnTo>
                    <a:pt x="1253039" y="607236"/>
                  </a:lnTo>
                  <a:lnTo>
                    <a:pt x="1257836" y="654465"/>
                  </a:lnTo>
                  <a:lnTo>
                    <a:pt x="1259459" y="702563"/>
                  </a:lnTo>
                  <a:lnTo>
                    <a:pt x="1257836" y="750662"/>
                  </a:lnTo>
                  <a:lnTo>
                    <a:pt x="1253039" y="797891"/>
                  </a:lnTo>
                  <a:lnTo>
                    <a:pt x="1245172" y="844146"/>
                  </a:lnTo>
                  <a:lnTo>
                    <a:pt x="1234339" y="889322"/>
                  </a:lnTo>
                  <a:lnTo>
                    <a:pt x="1220645" y="933315"/>
                  </a:lnTo>
                  <a:lnTo>
                    <a:pt x="1204196" y="976020"/>
                  </a:lnTo>
                  <a:lnTo>
                    <a:pt x="1185094" y="1017333"/>
                  </a:lnTo>
                  <a:lnTo>
                    <a:pt x="1163447" y="1057147"/>
                  </a:lnTo>
                  <a:lnTo>
                    <a:pt x="1139356" y="1095360"/>
                  </a:lnTo>
                  <a:lnTo>
                    <a:pt x="1112929" y="1131866"/>
                  </a:lnTo>
                  <a:lnTo>
                    <a:pt x="1084269" y="1166561"/>
                  </a:lnTo>
                  <a:lnTo>
                    <a:pt x="1053480" y="1199340"/>
                  </a:lnTo>
                  <a:lnTo>
                    <a:pt x="1020669" y="1230098"/>
                  </a:lnTo>
                  <a:lnTo>
                    <a:pt x="985938" y="1258730"/>
                  </a:lnTo>
                  <a:lnTo>
                    <a:pt x="949394" y="1285133"/>
                  </a:lnTo>
                  <a:lnTo>
                    <a:pt x="911140" y="1309200"/>
                  </a:lnTo>
                  <a:lnTo>
                    <a:pt x="871281" y="1330828"/>
                  </a:lnTo>
                  <a:lnTo>
                    <a:pt x="829923" y="1349912"/>
                  </a:lnTo>
                  <a:lnTo>
                    <a:pt x="787169" y="1366347"/>
                  </a:lnTo>
                  <a:lnTo>
                    <a:pt x="743124" y="1380029"/>
                  </a:lnTo>
                  <a:lnTo>
                    <a:pt x="697894" y="1390853"/>
                  </a:lnTo>
                  <a:lnTo>
                    <a:pt x="651582" y="1398713"/>
                  </a:lnTo>
                  <a:lnTo>
                    <a:pt x="604293" y="1403507"/>
                  </a:lnTo>
                  <a:lnTo>
                    <a:pt x="556132" y="1405128"/>
                  </a:lnTo>
                  <a:lnTo>
                    <a:pt x="506172" y="1403355"/>
                  </a:lnTo>
                  <a:lnTo>
                    <a:pt x="456808" y="1398092"/>
                  </a:lnTo>
                  <a:lnTo>
                    <a:pt x="408205" y="1389418"/>
                  </a:lnTo>
                  <a:lnTo>
                    <a:pt x="360525" y="1377414"/>
                  </a:lnTo>
                  <a:lnTo>
                    <a:pt x="313933" y="1362159"/>
                  </a:lnTo>
                  <a:lnTo>
                    <a:pt x="268593" y="1343733"/>
                  </a:lnTo>
                  <a:lnTo>
                    <a:pt x="224667" y="1322217"/>
                  </a:lnTo>
                  <a:lnTo>
                    <a:pt x="182321" y="1297691"/>
                  </a:lnTo>
                  <a:lnTo>
                    <a:pt x="141717" y="1270235"/>
                  </a:lnTo>
                  <a:lnTo>
                    <a:pt x="103019" y="1239929"/>
                  </a:lnTo>
                  <a:lnTo>
                    <a:pt x="66391" y="1206853"/>
                  </a:lnTo>
                  <a:lnTo>
                    <a:pt x="31997" y="1171088"/>
                  </a:lnTo>
                  <a:lnTo>
                    <a:pt x="0" y="1132713"/>
                  </a:lnTo>
                </a:path>
              </a:pathLst>
            </a:custGeom>
            <a:ln w="15240">
              <a:solidFill>
                <a:schemeClr val="tx2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70" name="object 18">
              <a:extLst>
                <a:ext uri="{FF2B5EF4-FFF2-40B4-BE49-F238E27FC236}">
                  <a16:creationId xmlns:a16="http://schemas.microsoft.com/office/drawing/2014/main" id="{E615B8EE-83EA-413D-9F76-7321012B6A49}"/>
                </a:ext>
              </a:extLst>
            </p:cNvPr>
            <p:cNvSpPr/>
            <p:nvPr/>
          </p:nvSpPr>
          <p:spPr>
            <a:xfrm>
              <a:off x="2682578" y="3409172"/>
              <a:ext cx="1056934" cy="1055884"/>
            </a:xfrm>
            <a:custGeom>
              <a:avLst/>
              <a:gdLst/>
              <a:ahLst/>
              <a:cxnLst/>
              <a:rect l="l" t="t" r="r" b="b"/>
              <a:pathLst>
                <a:path w="1278889" h="1277620">
                  <a:moveTo>
                    <a:pt x="639317" y="0"/>
                  </a:moveTo>
                  <a:lnTo>
                    <a:pt x="687027" y="1751"/>
                  </a:lnTo>
                  <a:lnTo>
                    <a:pt x="733785" y="6923"/>
                  </a:lnTo>
                  <a:lnTo>
                    <a:pt x="779468" y="15392"/>
                  </a:lnTo>
                  <a:lnTo>
                    <a:pt x="823952" y="27034"/>
                  </a:lnTo>
                  <a:lnTo>
                    <a:pt x="867112" y="41727"/>
                  </a:lnTo>
                  <a:lnTo>
                    <a:pt x="908827" y="59346"/>
                  </a:lnTo>
                  <a:lnTo>
                    <a:pt x="948971" y="79769"/>
                  </a:lnTo>
                  <a:lnTo>
                    <a:pt x="987422" y="102871"/>
                  </a:lnTo>
                  <a:lnTo>
                    <a:pt x="1024055" y="128530"/>
                  </a:lnTo>
                  <a:lnTo>
                    <a:pt x="1058747" y="156622"/>
                  </a:lnTo>
                  <a:lnTo>
                    <a:pt x="1091374" y="187023"/>
                  </a:lnTo>
                  <a:lnTo>
                    <a:pt x="1121813" y="219610"/>
                  </a:lnTo>
                  <a:lnTo>
                    <a:pt x="1149940" y="254260"/>
                  </a:lnTo>
                  <a:lnTo>
                    <a:pt x="1175631" y="290849"/>
                  </a:lnTo>
                  <a:lnTo>
                    <a:pt x="1198763" y="329253"/>
                  </a:lnTo>
                  <a:lnTo>
                    <a:pt x="1219212" y="369350"/>
                  </a:lnTo>
                  <a:lnTo>
                    <a:pt x="1236854" y="411016"/>
                  </a:lnTo>
                  <a:lnTo>
                    <a:pt x="1251565" y="454127"/>
                  </a:lnTo>
                  <a:lnTo>
                    <a:pt x="1263223" y="498560"/>
                  </a:lnTo>
                  <a:lnTo>
                    <a:pt x="1271703" y="544191"/>
                  </a:lnTo>
                  <a:lnTo>
                    <a:pt x="1276882" y="590898"/>
                  </a:lnTo>
                  <a:lnTo>
                    <a:pt x="1278636" y="638555"/>
                  </a:lnTo>
                  <a:lnTo>
                    <a:pt x="1276882" y="686213"/>
                  </a:lnTo>
                  <a:lnTo>
                    <a:pt x="1271703" y="732920"/>
                  </a:lnTo>
                  <a:lnTo>
                    <a:pt x="1263223" y="778551"/>
                  </a:lnTo>
                  <a:lnTo>
                    <a:pt x="1251565" y="822984"/>
                  </a:lnTo>
                  <a:lnTo>
                    <a:pt x="1236854" y="866095"/>
                  </a:lnTo>
                  <a:lnTo>
                    <a:pt x="1219212" y="907761"/>
                  </a:lnTo>
                  <a:lnTo>
                    <a:pt x="1198763" y="947858"/>
                  </a:lnTo>
                  <a:lnTo>
                    <a:pt x="1175631" y="986262"/>
                  </a:lnTo>
                  <a:lnTo>
                    <a:pt x="1149940" y="1022851"/>
                  </a:lnTo>
                  <a:lnTo>
                    <a:pt x="1121813" y="1057501"/>
                  </a:lnTo>
                  <a:lnTo>
                    <a:pt x="1091374" y="1090088"/>
                  </a:lnTo>
                  <a:lnTo>
                    <a:pt x="1058747" y="1120489"/>
                  </a:lnTo>
                  <a:lnTo>
                    <a:pt x="1024055" y="1148581"/>
                  </a:lnTo>
                  <a:lnTo>
                    <a:pt x="987422" y="1174240"/>
                  </a:lnTo>
                  <a:lnTo>
                    <a:pt x="948971" y="1197342"/>
                  </a:lnTo>
                  <a:lnTo>
                    <a:pt x="908827" y="1217765"/>
                  </a:lnTo>
                  <a:lnTo>
                    <a:pt x="867112" y="1235384"/>
                  </a:lnTo>
                  <a:lnTo>
                    <a:pt x="823952" y="1250077"/>
                  </a:lnTo>
                  <a:lnTo>
                    <a:pt x="779468" y="1261719"/>
                  </a:lnTo>
                  <a:lnTo>
                    <a:pt x="733785" y="1270188"/>
                  </a:lnTo>
                  <a:lnTo>
                    <a:pt x="687027" y="1275360"/>
                  </a:lnTo>
                  <a:lnTo>
                    <a:pt x="639317" y="1277112"/>
                  </a:lnTo>
                  <a:lnTo>
                    <a:pt x="591608" y="1275360"/>
                  </a:lnTo>
                  <a:lnTo>
                    <a:pt x="544850" y="1270188"/>
                  </a:lnTo>
                  <a:lnTo>
                    <a:pt x="499167" y="1261719"/>
                  </a:lnTo>
                  <a:lnTo>
                    <a:pt x="454683" y="1250077"/>
                  </a:lnTo>
                  <a:lnTo>
                    <a:pt x="411523" y="1235384"/>
                  </a:lnTo>
                  <a:lnTo>
                    <a:pt x="369808" y="1217765"/>
                  </a:lnTo>
                  <a:lnTo>
                    <a:pt x="329664" y="1197342"/>
                  </a:lnTo>
                  <a:lnTo>
                    <a:pt x="291213" y="1174240"/>
                  </a:lnTo>
                  <a:lnTo>
                    <a:pt x="254580" y="1148581"/>
                  </a:lnTo>
                  <a:lnTo>
                    <a:pt x="219888" y="1120489"/>
                  </a:lnTo>
                  <a:lnTo>
                    <a:pt x="187261" y="1090088"/>
                  </a:lnTo>
                  <a:lnTo>
                    <a:pt x="156822" y="1057501"/>
                  </a:lnTo>
                  <a:lnTo>
                    <a:pt x="128695" y="1022851"/>
                  </a:lnTo>
                  <a:lnTo>
                    <a:pt x="103004" y="986262"/>
                  </a:lnTo>
                  <a:lnTo>
                    <a:pt x="79872" y="947858"/>
                  </a:lnTo>
                  <a:lnTo>
                    <a:pt x="59423" y="907761"/>
                  </a:lnTo>
                  <a:lnTo>
                    <a:pt x="41781" y="866095"/>
                  </a:lnTo>
                  <a:lnTo>
                    <a:pt x="27070" y="822984"/>
                  </a:lnTo>
                  <a:lnTo>
                    <a:pt x="15412" y="778551"/>
                  </a:lnTo>
                  <a:lnTo>
                    <a:pt x="6932" y="732920"/>
                  </a:lnTo>
                  <a:lnTo>
                    <a:pt x="1753" y="686213"/>
                  </a:lnTo>
                  <a:lnTo>
                    <a:pt x="0" y="638555"/>
                  </a:lnTo>
                  <a:lnTo>
                    <a:pt x="2217" y="585401"/>
                  </a:lnTo>
                  <a:lnTo>
                    <a:pt x="8812" y="532886"/>
                  </a:lnTo>
                  <a:lnTo>
                    <a:pt x="19696" y="481266"/>
                  </a:lnTo>
                  <a:lnTo>
                    <a:pt x="34782" y="430799"/>
                  </a:lnTo>
                  <a:lnTo>
                    <a:pt x="53981" y="381744"/>
                  </a:lnTo>
                  <a:lnTo>
                    <a:pt x="77206" y="334357"/>
                  </a:lnTo>
                  <a:lnTo>
                    <a:pt x="104368" y="288895"/>
                  </a:lnTo>
                  <a:lnTo>
                    <a:pt x="135382" y="245617"/>
                  </a:lnTo>
                </a:path>
              </a:pathLst>
            </a:custGeom>
            <a:ln w="15240">
              <a:solidFill>
                <a:schemeClr val="tx2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71" name="object 19">
              <a:extLst>
                <a:ext uri="{FF2B5EF4-FFF2-40B4-BE49-F238E27FC236}">
                  <a16:creationId xmlns:a16="http://schemas.microsoft.com/office/drawing/2014/main" id="{FF8D2608-8DB5-41A9-AF01-45B2A07D0E21}"/>
                </a:ext>
              </a:extLst>
            </p:cNvPr>
            <p:cNvSpPr/>
            <p:nvPr/>
          </p:nvSpPr>
          <p:spPr>
            <a:xfrm>
              <a:off x="3215348" y="3293298"/>
              <a:ext cx="638674" cy="894773"/>
            </a:xfrm>
            <a:custGeom>
              <a:avLst/>
              <a:gdLst/>
              <a:ahLst/>
              <a:cxnLst/>
              <a:rect l="l" t="t" r="r" b="b"/>
              <a:pathLst>
                <a:path w="772795" h="1082675">
                  <a:moveTo>
                    <a:pt x="0" y="0"/>
                  </a:moveTo>
                  <a:lnTo>
                    <a:pt x="48863" y="1521"/>
                  </a:lnTo>
                  <a:lnTo>
                    <a:pt x="96919" y="6026"/>
                  </a:lnTo>
                  <a:lnTo>
                    <a:pt x="144077" y="13424"/>
                  </a:lnTo>
                  <a:lnTo>
                    <a:pt x="190246" y="23624"/>
                  </a:lnTo>
                  <a:lnTo>
                    <a:pt x="235337" y="36535"/>
                  </a:lnTo>
                  <a:lnTo>
                    <a:pt x="279258" y="52067"/>
                  </a:lnTo>
                  <a:lnTo>
                    <a:pt x="321919" y="70128"/>
                  </a:lnTo>
                  <a:lnTo>
                    <a:pt x="363229" y="90629"/>
                  </a:lnTo>
                  <a:lnTo>
                    <a:pt x="403098" y="113479"/>
                  </a:lnTo>
                  <a:lnTo>
                    <a:pt x="441436" y="138587"/>
                  </a:lnTo>
                  <a:lnTo>
                    <a:pt x="478151" y="165862"/>
                  </a:lnTo>
                  <a:lnTo>
                    <a:pt x="513154" y="195214"/>
                  </a:lnTo>
                  <a:lnTo>
                    <a:pt x="546354" y="226552"/>
                  </a:lnTo>
                  <a:lnTo>
                    <a:pt x="577659" y="259785"/>
                  </a:lnTo>
                  <a:lnTo>
                    <a:pt x="606981" y="294823"/>
                  </a:lnTo>
                  <a:lnTo>
                    <a:pt x="634228" y="331575"/>
                  </a:lnTo>
                  <a:lnTo>
                    <a:pt x="659309" y="369951"/>
                  </a:lnTo>
                  <a:lnTo>
                    <a:pt x="682135" y="409859"/>
                  </a:lnTo>
                  <a:lnTo>
                    <a:pt x="702614" y="451210"/>
                  </a:lnTo>
                  <a:lnTo>
                    <a:pt x="720657" y="493912"/>
                  </a:lnTo>
                  <a:lnTo>
                    <a:pt x="736172" y="537875"/>
                  </a:lnTo>
                  <a:lnTo>
                    <a:pt x="749069" y="583008"/>
                  </a:lnTo>
                  <a:lnTo>
                    <a:pt x="759257" y="629221"/>
                  </a:lnTo>
                  <a:lnTo>
                    <a:pt x="766647" y="676422"/>
                  </a:lnTo>
                  <a:lnTo>
                    <a:pt x="771147" y="724522"/>
                  </a:lnTo>
                  <a:lnTo>
                    <a:pt x="772668" y="773430"/>
                  </a:lnTo>
                  <a:lnTo>
                    <a:pt x="770853" y="826453"/>
                  </a:lnTo>
                  <a:lnTo>
                    <a:pt x="765433" y="879103"/>
                  </a:lnTo>
                  <a:lnTo>
                    <a:pt x="756443" y="931195"/>
                  </a:lnTo>
                  <a:lnTo>
                    <a:pt x="743918" y="982547"/>
                  </a:lnTo>
                  <a:lnTo>
                    <a:pt x="727894" y="1032974"/>
                  </a:lnTo>
                  <a:lnTo>
                    <a:pt x="708406" y="1082294"/>
                  </a:lnTo>
                </a:path>
              </a:pathLst>
            </a:custGeom>
            <a:ln w="15240">
              <a:solidFill>
                <a:schemeClr val="tx2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72" name="object 40">
              <a:extLst>
                <a:ext uri="{FF2B5EF4-FFF2-40B4-BE49-F238E27FC236}">
                  <a16:creationId xmlns:a16="http://schemas.microsoft.com/office/drawing/2014/main" id="{B1826CC3-E8D5-4E38-BB66-356ED741FA26}"/>
                </a:ext>
              </a:extLst>
            </p:cNvPr>
            <p:cNvSpPr/>
            <p:nvPr/>
          </p:nvSpPr>
          <p:spPr>
            <a:xfrm>
              <a:off x="2748701" y="3466480"/>
              <a:ext cx="934657" cy="934657"/>
            </a:xfrm>
            <a:custGeom>
              <a:avLst/>
              <a:gdLst/>
              <a:ahLst/>
              <a:cxnLst/>
              <a:rect l="l" t="t" r="r" b="b"/>
              <a:pathLst>
                <a:path w="1130935" h="1130935">
                  <a:moveTo>
                    <a:pt x="565403" y="0"/>
                  </a:moveTo>
                  <a:lnTo>
                    <a:pt x="516614" y="2075"/>
                  </a:lnTo>
                  <a:lnTo>
                    <a:pt x="468978" y="8187"/>
                  </a:lnTo>
                  <a:lnTo>
                    <a:pt x="422665" y="18167"/>
                  </a:lnTo>
                  <a:lnTo>
                    <a:pt x="377844" y="31845"/>
                  </a:lnTo>
                  <a:lnTo>
                    <a:pt x="334686" y="49051"/>
                  </a:lnTo>
                  <a:lnTo>
                    <a:pt x="293360" y="69615"/>
                  </a:lnTo>
                  <a:lnTo>
                    <a:pt x="254034" y="93369"/>
                  </a:lnTo>
                  <a:lnTo>
                    <a:pt x="216881" y="120142"/>
                  </a:lnTo>
                  <a:lnTo>
                    <a:pt x="182067" y="149765"/>
                  </a:lnTo>
                  <a:lnTo>
                    <a:pt x="149765" y="182067"/>
                  </a:lnTo>
                  <a:lnTo>
                    <a:pt x="120142" y="216881"/>
                  </a:lnTo>
                  <a:lnTo>
                    <a:pt x="93369" y="254034"/>
                  </a:lnTo>
                  <a:lnTo>
                    <a:pt x="69615" y="293360"/>
                  </a:lnTo>
                  <a:lnTo>
                    <a:pt x="49051" y="334686"/>
                  </a:lnTo>
                  <a:lnTo>
                    <a:pt x="31845" y="377844"/>
                  </a:lnTo>
                  <a:lnTo>
                    <a:pt x="18167" y="422665"/>
                  </a:lnTo>
                  <a:lnTo>
                    <a:pt x="8187" y="468978"/>
                  </a:lnTo>
                  <a:lnTo>
                    <a:pt x="2075" y="516614"/>
                  </a:lnTo>
                  <a:lnTo>
                    <a:pt x="0" y="565404"/>
                  </a:lnTo>
                  <a:lnTo>
                    <a:pt x="2075" y="614193"/>
                  </a:lnTo>
                  <a:lnTo>
                    <a:pt x="8187" y="661829"/>
                  </a:lnTo>
                  <a:lnTo>
                    <a:pt x="18167" y="708142"/>
                  </a:lnTo>
                  <a:lnTo>
                    <a:pt x="31845" y="752963"/>
                  </a:lnTo>
                  <a:lnTo>
                    <a:pt x="49051" y="796121"/>
                  </a:lnTo>
                  <a:lnTo>
                    <a:pt x="69615" y="837447"/>
                  </a:lnTo>
                  <a:lnTo>
                    <a:pt x="93369" y="876773"/>
                  </a:lnTo>
                  <a:lnTo>
                    <a:pt x="120142" y="913926"/>
                  </a:lnTo>
                  <a:lnTo>
                    <a:pt x="149765" y="948740"/>
                  </a:lnTo>
                  <a:lnTo>
                    <a:pt x="182067" y="981042"/>
                  </a:lnTo>
                  <a:lnTo>
                    <a:pt x="216881" y="1010665"/>
                  </a:lnTo>
                  <a:lnTo>
                    <a:pt x="254034" y="1037438"/>
                  </a:lnTo>
                  <a:lnTo>
                    <a:pt x="293360" y="1061192"/>
                  </a:lnTo>
                  <a:lnTo>
                    <a:pt x="334686" y="1081756"/>
                  </a:lnTo>
                  <a:lnTo>
                    <a:pt x="377844" y="1098962"/>
                  </a:lnTo>
                  <a:lnTo>
                    <a:pt x="422665" y="1112640"/>
                  </a:lnTo>
                  <a:lnTo>
                    <a:pt x="468978" y="1122620"/>
                  </a:lnTo>
                  <a:lnTo>
                    <a:pt x="516614" y="1128732"/>
                  </a:lnTo>
                  <a:lnTo>
                    <a:pt x="565403" y="1130808"/>
                  </a:lnTo>
                  <a:lnTo>
                    <a:pt x="614193" y="1128732"/>
                  </a:lnTo>
                  <a:lnTo>
                    <a:pt x="661829" y="1122620"/>
                  </a:lnTo>
                  <a:lnTo>
                    <a:pt x="708142" y="1112640"/>
                  </a:lnTo>
                  <a:lnTo>
                    <a:pt x="752963" y="1098962"/>
                  </a:lnTo>
                  <a:lnTo>
                    <a:pt x="796121" y="1081756"/>
                  </a:lnTo>
                  <a:lnTo>
                    <a:pt x="837447" y="1061192"/>
                  </a:lnTo>
                  <a:lnTo>
                    <a:pt x="876773" y="1037438"/>
                  </a:lnTo>
                  <a:lnTo>
                    <a:pt x="913926" y="1010665"/>
                  </a:lnTo>
                  <a:lnTo>
                    <a:pt x="948740" y="981042"/>
                  </a:lnTo>
                  <a:lnTo>
                    <a:pt x="981042" y="948740"/>
                  </a:lnTo>
                  <a:lnTo>
                    <a:pt x="1010665" y="913926"/>
                  </a:lnTo>
                  <a:lnTo>
                    <a:pt x="1037438" y="876773"/>
                  </a:lnTo>
                  <a:lnTo>
                    <a:pt x="1061192" y="837447"/>
                  </a:lnTo>
                  <a:lnTo>
                    <a:pt x="1081756" y="796121"/>
                  </a:lnTo>
                  <a:lnTo>
                    <a:pt x="1098962" y="752963"/>
                  </a:lnTo>
                  <a:lnTo>
                    <a:pt x="1112640" y="708142"/>
                  </a:lnTo>
                  <a:lnTo>
                    <a:pt x="1122620" y="661829"/>
                  </a:lnTo>
                  <a:lnTo>
                    <a:pt x="1128732" y="614193"/>
                  </a:lnTo>
                  <a:lnTo>
                    <a:pt x="1130807" y="565404"/>
                  </a:lnTo>
                  <a:lnTo>
                    <a:pt x="1128732" y="516614"/>
                  </a:lnTo>
                  <a:lnTo>
                    <a:pt x="1122620" y="468978"/>
                  </a:lnTo>
                  <a:lnTo>
                    <a:pt x="1112640" y="422665"/>
                  </a:lnTo>
                  <a:lnTo>
                    <a:pt x="1098962" y="377844"/>
                  </a:lnTo>
                  <a:lnTo>
                    <a:pt x="1081756" y="334686"/>
                  </a:lnTo>
                  <a:lnTo>
                    <a:pt x="1061192" y="293360"/>
                  </a:lnTo>
                  <a:lnTo>
                    <a:pt x="1037438" y="254034"/>
                  </a:lnTo>
                  <a:lnTo>
                    <a:pt x="1010665" y="216881"/>
                  </a:lnTo>
                  <a:lnTo>
                    <a:pt x="981042" y="182067"/>
                  </a:lnTo>
                  <a:lnTo>
                    <a:pt x="948740" y="149765"/>
                  </a:lnTo>
                  <a:lnTo>
                    <a:pt x="913926" y="120142"/>
                  </a:lnTo>
                  <a:lnTo>
                    <a:pt x="876773" y="93369"/>
                  </a:lnTo>
                  <a:lnTo>
                    <a:pt x="837447" y="69615"/>
                  </a:lnTo>
                  <a:lnTo>
                    <a:pt x="796121" y="49051"/>
                  </a:lnTo>
                  <a:lnTo>
                    <a:pt x="752963" y="31845"/>
                  </a:lnTo>
                  <a:lnTo>
                    <a:pt x="708142" y="18167"/>
                  </a:lnTo>
                  <a:lnTo>
                    <a:pt x="661829" y="8187"/>
                  </a:lnTo>
                  <a:lnTo>
                    <a:pt x="614193" y="2075"/>
                  </a:lnTo>
                  <a:lnTo>
                    <a:pt x="565403" y="0"/>
                  </a:lnTo>
                  <a:close/>
                </a:path>
              </a:pathLst>
            </a:custGeom>
            <a:solidFill>
              <a:srgbClr val="FFFFFF"/>
            </a:solidFill>
            <a:ln>
              <a:solidFill>
                <a:schemeClr val="tx2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73" name="object 41">
              <a:extLst>
                <a:ext uri="{FF2B5EF4-FFF2-40B4-BE49-F238E27FC236}">
                  <a16:creationId xmlns:a16="http://schemas.microsoft.com/office/drawing/2014/main" id="{B4075393-C164-4127-A724-6ADAB2E609A5}"/>
                </a:ext>
              </a:extLst>
            </p:cNvPr>
            <p:cNvSpPr/>
            <p:nvPr/>
          </p:nvSpPr>
          <p:spPr>
            <a:xfrm>
              <a:off x="2748701" y="3466480"/>
              <a:ext cx="934657" cy="934657"/>
            </a:xfrm>
            <a:custGeom>
              <a:avLst/>
              <a:gdLst/>
              <a:ahLst/>
              <a:cxnLst/>
              <a:rect l="l" t="t" r="r" b="b"/>
              <a:pathLst>
                <a:path w="1130935" h="1130935">
                  <a:moveTo>
                    <a:pt x="0" y="565404"/>
                  </a:moveTo>
                  <a:lnTo>
                    <a:pt x="2075" y="516614"/>
                  </a:lnTo>
                  <a:lnTo>
                    <a:pt x="8187" y="468978"/>
                  </a:lnTo>
                  <a:lnTo>
                    <a:pt x="18167" y="422665"/>
                  </a:lnTo>
                  <a:lnTo>
                    <a:pt x="31845" y="377844"/>
                  </a:lnTo>
                  <a:lnTo>
                    <a:pt x="49051" y="334686"/>
                  </a:lnTo>
                  <a:lnTo>
                    <a:pt x="69615" y="293360"/>
                  </a:lnTo>
                  <a:lnTo>
                    <a:pt x="93369" y="254034"/>
                  </a:lnTo>
                  <a:lnTo>
                    <a:pt x="120142" y="216881"/>
                  </a:lnTo>
                  <a:lnTo>
                    <a:pt x="149765" y="182067"/>
                  </a:lnTo>
                  <a:lnTo>
                    <a:pt x="182067" y="149765"/>
                  </a:lnTo>
                  <a:lnTo>
                    <a:pt x="216881" y="120142"/>
                  </a:lnTo>
                  <a:lnTo>
                    <a:pt x="254034" y="93369"/>
                  </a:lnTo>
                  <a:lnTo>
                    <a:pt x="293360" y="69615"/>
                  </a:lnTo>
                  <a:lnTo>
                    <a:pt x="334686" y="49051"/>
                  </a:lnTo>
                  <a:lnTo>
                    <a:pt x="377844" y="31845"/>
                  </a:lnTo>
                  <a:lnTo>
                    <a:pt x="422665" y="18167"/>
                  </a:lnTo>
                  <a:lnTo>
                    <a:pt x="468978" y="8187"/>
                  </a:lnTo>
                  <a:lnTo>
                    <a:pt x="516614" y="2075"/>
                  </a:lnTo>
                  <a:lnTo>
                    <a:pt x="565403" y="0"/>
                  </a:lnTo>
                  <a:lnTo>
                    <a:pt x="614193" y="2075"/>
                  </a:lnTo>
                  <a:lnTo>
                    <a:pt x="661829" y="8187"/>
                  </a:lnTo>
                  <a:lnTo>
                    <a:pt x="708142" y="18167"/>
                  </a:lnTo>
                  <a:lnTo>
                    <a:pt x="752963" y="31845"/>
                  </a:lnTo>
                  <a:lnTo>
                    <a:pt x="796121" y="49051"/>
                  </a:lnTo>
                  <a:lnTo>
                    <a:pt x="837447" y="69615"/>
                  </a:lnTo>
                  <a:lnTo>
                    <a:pt x="876773" y="93369"/>
                  </a:lnTo>
                  <a:lnTo>
                    <a:pt x="913926" y="120142"/>
                  </a:lnTo>
                  <a:lnTo>
                    <a:pt x="948740" y="149765"/>
                  </a:lnTo>
                  <a:lnTo>
                    <a:pt x="981042" y="182067"/>
                  </a:lnTo>
                  <a:lnTo>
                    <a:pt x="1010665" y="216881"/>
                  </a:lnTo>
                  <a:lnTo>
                    <a:pt x="1037438" y="254034"/>
                  </a:lnTo>
                  <a:lnTo>
                    <a:pt x="1061192" y="293360"/>
                  </a:lnTo>
                  <a:lnTo>
                    <a:pt x="1081756" y="334686"/>
                  </a:lnTo>
                  <a:lnTo>
                    <a:pt x="1098962" y="377844"/>
                  </a:lnTo>
                  <a:lnTo>
                    <a:pt x="1112640" y="422665"/>
                  </a:lnTo>
                  <a:lnTo>
                    <a:pt x="1122620" y="468978"/>
                  </a:lnTo>
                  <a:lnTo>
                    <a:pt x="1128732" y="516614"/>
                  </a:lnTo>
                  <a:lnTo>
                    <a:pt x="1130807" y="565404"/>
                  </a:lnTo>
                  <a:lnTo>
                    <a:pt x="1128732" y="614193"/>
                  </a:lnTo>
                  <a:lnTo>
                    <a:pt x="1122620" y="661829"/>
                  </a:lnTo>
                  <a:lnTo>
                    <a:pt x="1112640" y="708142"/>
                  </a:lnTo>
                  <a:lnTo>
                    <a:pt x="1098962" y="752963"/>
                  </a:lnTo>
                  <a:lnTo>
                    <a:pt x="1081756" y="796121"/>
                  </a:lnTo>
                  <a:lnTo>
                    <a:pt x="1061192" y="837447"/>
                  </a:lnTo>
                  <a:lnTo>
                    <a:pt x="1037438" y="876773"/>
                  </a:lnTo>
                  <a:lnTo>
                    <a:pt x="1010665" y="913926"/>
                  </a:lnTo>
                  <a:lnTo>
                    <a:pt x="981042" y="948740"/>
                  </a:lnTo>
                  <a:lnTo>
                    <a:pt x="948740" y="981042"/>
                  </a:lnTo>
                  <a:lnTo>
                    <a:pt x="913926" y="1010665"/>
                  </a:lnTo>
                  <a:lnTo>
                    <a:pt x="876773" y="1037438"/>
                  </a:lnTo>
                  <a:lnTo>
                    <a:pt x="837447" y="1061192"/>
                  </a:lnTo>
                  <a:lnTo>
                    <a:pt x="796121" y="1081756"/>
                  </a:lnTo>
                  <a:lnTo>
                    <a:pt x="752963" y="1098962"/>
                  </a:lnTo>
                  <a:lnTo>
                    <a:pt x="708142" y="1112640"/>
                  </a:lnTo>
                  <a:lnTo>
                    <a:pt x="661829" y="1122620"/>
                  </a:lnTo>
                  <a:lnTo>
                    <a:pt x="614193" y="1128732"/>
                  </a:lnTo>
                  <a:lnTo>
                    <a:pt x="565403" y="1130808"/>
                  </a:lnTo>
                  <a:lnTo>
                    <a:pt x="516614" y="1128732"/>
                  </a:lnTo>
                  <a:lnTo>
                    <a:pt x="468978" y="1122620"/>
                  </a:lnTo>
                  <a:lnTo>
                    <a:pt x="422665" y="1112640"/>
                  </a:lnTo>
                  <a:lnTo>
                    <a:pt x="377844" y="1098962"/>
                  </a:lnTo>
                  <a:lnTo>
                    <a:pt x="334686" y="1081756"/>
                  </a:lnTo>
                  <a:lnTo>
                    <a:pt x="293360" y="1061192"/>
                  </a:lnTo>
                  <a:lnTo>
                    <a:pt x="254034" y="1037438"/>
                  </a:lnTo>
                  <a:lnTo>
                    <a:pt x="216881" y="1010665"/>
                  </a:lnTo>
                  <a:lnTo>
                    <a:pt x="182067" y="981042"/>
                  </a:lnTo>
                  <a:lnTo>
                    <a:pt x="149765" y="948740"/>
                  </a:lnTo>
                  <a:lnTo>
                    <a:pt x="120142" y="913926"/>
                  </a:lnTo>
                  <a:lnTo>
                    <a:pt x="93369" y="876773"/>
                  </a:lnTo>
                  <a:lnTo>
                    <a:pt x="69615" y="837447"/>
                  </a:lnTo>
                  <a:lnTo>
                    <a:pt x="49051" y="796121"/>
                  </a:lnTo>
                  <a:lnTo>
                    <a:pt x="31845" y="752963"/>
                  </a:lnTo>
                  <a:lnTo>
                    <a:pt x="18167" y="708142"/>
                  </a:lnTo>
                  <a:lnTo>
                    <a:pt x="8187" y="661829"/>
                  </a:lnTo>
                  <a:lnTo>
                    <a:pt x="2075" y="614193"/>
                  </a:lnTo>
                  <a:lnTo>
                    <a:pt x="0" y="565404"/>
                  </a:lnTo>
                  <a:close/>
                </a:path>
              </a:pathLst>
            </a:custGeom>
            <a:ln w="15240">
              <a:solidFill>
                <a:schemeClr val="tx2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pic>
          <p:nvPicPr>
            <p:cNvPr id="74" name="Picture 73">
              <a:extLst>
                <a:ext uri="{FF2B5EF4-FFF2-40B4-BE49-F238E27FC236}">
                  <a16:creationId xmlns:a16="http://schemas.microsoft.com/office/drawing/2014/main" id="{77272E1A-9BCC-42DF-A1A0-AE06C7BF713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27336" y="3805834"/>
              <a:ext cx="267640" cy="364455"/>
            </a:xfrm>
            <a:prstGeom prst="rect">
              <a:avLst/>
            </a:prstGeom>
            <a:ln w="15240">
              <a:noFill/>
            </a:ln>
          </p:spPr>
        </p:pic>
        <p:sp>
          <p:nvSpPr>
            <p:cNvPr id="75" name="object 69">
              <a:extLst>
                <a:ext uri="{FF2B5EF4-FFF2-40B4-BE49-F238E27FC236}">
                  <a16:creationId xmlns:a16="http://schemas.microsoft.com/office/drawing/2014/main" id="{56205A8D-2B1C-4721-BF99-85C7A8729A0F}"/>
                </a:ext>
              </a:extLst>
            </p:cNvPr>
            <p:cNvSpPr/>
            <p:nvPr/>
          </p:nvSpPr>
          <p:spPr>
            <a:xfrm flipH="1">
              <a:off x="2801769" y="3792554"/>
              <a:ext cx="581679" cy="416122"/>
            </a:xfrm>
            <a:prstGeom prst="rect">
              <a:avLst/>
            </a:prstGeom>
            <a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a:blipFill>
            <a:ln>
              <a:noFill/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D6A842D4-376B-48F6-85F5-ED5151A89761}"/>
                </a:ext>
              </a:extLst>
            </p:cNvPr>
            <p:cNvSpPr txBox="1"/>
            <p:nvPr/>
          </p:nvSpPr>
          <p:spPr>
            <a:xfrm>
              <a:off x="2761036" y="3581025"/>
              <a:ext cx="1282148" cy="22644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D347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Fagrekvirent</a:t>
              </a:r>
              <a:endPara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D347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28" name="object 8">
            <a:extLst>
              <a:ext uri="{FF2B5EF4-FFF2-40B4-BE49-F238E27FC236}">
                <a16:creationId xmlns:a16="http://schemas.microsoft.com/office/drawing/2014/main" id="{1D02E8AB-996E-47F7-AAFD-15799EC911AB}"/>
              </a:ext>
            </a:extLst>
          </p:cNvPr>
          <p:cNvSpPr/>
          <p:nvPr/>
        </p:nvSpPr>
        <p:spPr>
          <a:xfrm>
            <a:off x="418557" y="2236614"/>
            <a:ext cx="189709" cy="538893"/>
          </a:xfrm>
          <a:prstGeom prst="rect">
            <a:avLst/>
          </a:prstGeom>
          <a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29" name="object 52">
            <a:extLst>
              <a:ext uri="{FF2B5EF4-FFF2-40B4-BE49-F238E27FC236}">
                <a16:creationId xmlns:a16="http://schemas.microsoft.com/office/drawing/2014/main" id="{4037DC2D-0845-48E7-AB4D-25602FBF0A97}"/>
              </a:ext>
            </a:extLst>
          </p:cNvPr>
          <p:cNvSpPr txBox="1"/>
          <p:nvPr/>
        </p:nvSpPr>
        <p:spPr>
          <a:xfrm>
            <a:off x="1406583" y="1772854"/>
            <a:ext cx="1394428" cy="42768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 lvl="0" indent="0" algn="ctr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-5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Sendes</a:t>
            </a:r>
            <a:r>
              <a:rPr kumimoji="0" lang="en-US" sz="900" b="0" i="0" u="none" strike="noStrike" kern="1200" cap="none" spc="-5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 </a:t>
            </a:r>
            <a:r>
              <a:rPr kumimoji="0" lang="en-US" sz="900" b="0" i="0" u="none" strike="noStrike" kern="1200" cap="none" spc="-5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til</a:t>
            </a:r>
            <a:r>
              <a:rPr kumimoji="0" lang="en-US" sz="900" b="0" i="0" u="none" strike="noStrike" kern="1200" cap="none" spc="-5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 </a:t>
            </a:r>
            <a:r>
              <a:rPr kumimoji="0" lang="en-US" sz="900" b="0" i="0" u="none" strike="noStrike" kern="1200" cap="none" spc="-5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Innkjøpergruppe</a:t>
            </a:r>
            <a:r>
              <a:rPr kumimoji="0" lang="en-US" sz="900" b="0" i="0" u="none" strike="noStrike" kern="1200" cap="none" spc="-5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 (</a:t>
            </a:r>
            <a:r>
              <a:rPr kumimoji="0" lang="en-US" sz="900" b="0" i="0" u="none" strike="noStrike" kern="1200" cap="none" spc="-5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definert</a:t>
            </a:r>
            <a:r>
              <a:rPr kumimoji="0" lang="en-US" sz="900" b="0" i="0" u="none" strike="noStrike" kern="1200" cap="none" spc="-5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 av </a:t>
            </a:r>
            <a:r>
              <a:rPr kumimoji="0" lang="en-US" sz="900" b="0" i="0" u="none" strike="noStrike" kern="1200" cap="none" spc="-5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koststed</a:t>
            </a:r>
            <a:r>
              <a:rPr kumimoji="0" lang="en-US" sz="900" b="0" i="0" u="none" strike="noStrike" kern="1200" cap="none" spc="-5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)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69604043-73C5-45EE-ADDB-8DED7DD8813A}"/>
              </a:ext>
            </a:extLst>
          </p:cNvPr>
          <p:cNvGrpSpPr/>
          <p:nvPr/>
        </p:nvGrpSpPr>
        <p:grpSpPr>
          <a:xfrm>
            <a:off x="2862225" y="1255104"/>
            <a:ext cx="1350024" cy="1429828"/>
            <a:chOff x="4471223" y="2681586"/>
            <a:chExt cx="1500876" cy="1569373"/>
          </a:xfrm>
        </p:grpSpPr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3F9FA64F-5117-4943-AF6A-558E5945E856}"/>
                </a:ext>
              </a:extLst>
            </p:cNvPr>
            <p:cNvGrpSpPr/>
            <p:nvPr/>
          </p:nvGrpSpPr>
          <p:grpSpPr>
            <a:xfrm>
              <a:off x="4471223" y="2681586"/>
              <a:ext cx="1429599" cy="1569373"/>
              <a:chOff x="2320780" y="1682998"/>
              <a:chExt cx="1429599" cy="1569373"/>
            </a:xfrm>
          </p:grpSpPr>
          <p:grpSp>
            <p:nvGrpSpPr>
              <p:cNvPr id="61" name="Group 60">
                <a:extLst>
                  <a:ext uri="{FF2B5EF4-FFF2-40B4-BE49-F238E27FC236}">
                    <a16:creationId xmlns:a16="http://schemas.microsoft.com/office/drawing/2014/main" id="{C7B9BCDD-65E6-4075-811D-B516460059F0}"/>
                  </a:ext>
                </a:extLst>
              </p:cNvPr>
              <p:cNvGrpSpPr/>
              <p:nvPr/>
            </p:nvGrpSpPr>
            <p:grpSpPr>
              <a:xfrm>
                <a:off x="2320780" y="1682998"/>
                <a:ext cx="1171444" cy="1224343"/>
                <a:chOff x="3467100" y="1822704"/>
                <a:chExt cx="1417447" cy="1481455"/>
              </a:xfrm>
            </p:grpSpPr>
            <p:sp>
              <p:nvSpPr>
                <p:cNvPr id="64" name="object 17">
                  <a:extLst>
                    <a:ext uri="{FF2B5EF4-FFF2-40B4-BE49-F238E27FC236}">
                      <a16:creationId xmlns:a16="http://schemas.microsoft.com/office/drawing/2014/main" id="{2E36AB02-E7BB-4AFF-B5FA-42229FF9ED11}"/>
                    </a:ext>
                  </a:extLst>
                </p:cNvPr>
                <p:cNvSpPr/>
                <p:nvPr/>
              </p:nvSpPr>
              <p:spPr>
                <a:xfrm>
                  <a:off x="3550284" y="1898904"/>
                  <a:ext cx="1259840" cy="140525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59839" h="1405254">
                      <a:moveTo>
                        <a:pt x="556132" y="0"/>
                      </a:moveTo>
                      <a:lnTo>
                        <a:pt x="604293" y="1620"/>
                      </a:lnTo>
                      <a:lnTo>
                        <a:pt x="651582" y="6414"/>
                      </a:lnTo>
                      <a:lnTo>
                        <a:pt x="697894" y="14274"/>
                      </a:lnTo>
                      <a:lnTo>
                        <a:pt x="743124" y="25098"/>
                      </a:lnTo>
                      <a:lnTo>
                        <a:pt x="787169" y="38780"/>
                      </a:lnTo>
                      <a:lnTo>
                        <a:pt x="829923" y="55215"/>
                      </a:lnTo>
                      <a:lnTo>
                        <a:pt x="871281" y="74299"/>
                      </a:lnTo>
                      <a:lnTo>
                        <a:pt x="911140" y="95927"/>
                      </a:lnTo>
                      <a:lnTo>
                        <a:pt x="949394" y="119994"/>
                      </a:lnTo>
                      <a:lnTo>
                        <a:pt x="985938" y="146397"/>
                      </a:lnTo>
                      <a:lnTo>
                        <a:pt x="1020669" y="175029"/>
                      </a:lnTo>
                      <a:lnTo>
                        <a:pt x="1053480" y="205787"/>
                      </a:lnTo>
                      <a:lnTo>
                        <a:pt x="1084269" y="238566"/>
                      </a:lnTo>
                      <a:lnTo>
                        <a:pt x="1112929" y="273261"/>
                      </a:lnTo>
                      <a:lnTo>
                        <a:pt x="1139356" y="309767"/>
                      </a:lnTo>
                      <a:lnTo>
                        <a:pt x="1163447" y="347980"/>
                      </a:lnTo>
                      <a:lnTo>
                        <a:pt x="1185094" y="387794"/>
                      </a:lnTo>
                      <a:lnTo>
                        <a:pt x="1204196" y="429107"/>
                      </a:lnTo>
                      <a:lnTo>
                        <a:pt x="1220645" y="471812"/>
                      </a:lnTo>
                      <a:lnTo>
                        <a:pt x="1234339" y="515805"/>
                      </a:lnTo>
                      <a:lnTo>
                        <a:pt x="1245172" y="560981"/>
                      </a:lnTo>
                      <a:lnTo>
                        <a:pt x="1253039" y="607236"/>
                      </a:lnTo>
                      <a:lnTo>
                        <a:pt x="1257836" y="654465"/>
                      </a:lnTo>
                      <a:lnTo>
                        <a:pt x="1259459" y="702563"/>
                      </a:lnTo>
                      <a:lnTo>
                        <a:pt x="1257836" y="750662"/>
                      </a:lnTo>
                      <a:lnTo>
                        <a:pt x="1253039" y="797891"/>
                      </a:lnTo>
                      <a:lnTo>
                        <a:pt x="1245172" y="844146"/>
                      </a:lnTo>
                      <a:lnTo>
                        <a:pt x="1234339" y="889322"/>
                      </a:lnTo>
                      <a:lnTo>
                        <a:pt x="1220645" y="933315"/>
                      </a:lnTo>
                      <a:lnTo>
                        <a:pt x="1204196" y="976020"/>
                      </a:lnTo>
                      <a:lnTo>
                        <a:pt x="1185094" y="1017333"/>
                      </a:lnTo>
                      <a:lnTo>
                        <a:pt x="1163447" y="1057147"/>
                      </a:lnTo>
                      <a:lnTo>
                        <a:pt x="1139356" y="1095360"/>
                      </a:lnTo>
                      <a:lnTo>
                        <a:pt x="1112929" y="1131866"/>
                      </a:lnTo>
                      <a:lnTo>
                        <a:pt x="1084269" y="1166561"/>
                      </a:lnTo>
                      <a:lnTo>
                        <a:pt x="1053480" y="1199340"/>
                      </a:lnTo>
                      <a:lnTo>
                        <a:pt x="1020669" y="1230098"/>
                      </a:lnTo>
                      <a:lnTo>
                        <a:pt x="985938" y="1258730"/>
                      </a:lnTo>
                      <a:lnTo>
                        <a:pt x="949394" y="1285133"/>
                      </a:lnTo>
                      <a:lnTo>
                        <a:pt x="911140" y="1309200"/>
                      </a:lnTo>
                      <a:lnTo>
                        <a:pt x="871281" y="1330828"/>
                      </a:lnTo>
                      <a:lnTo>
                        <a:pt x="829923" y="1349912"/>
                      </a:lnTo>
                      <a:lnTo>
                        <a:pt x="787169" y="1366347"/>
                      </a:lnTo>
                      <a:lnTo>
                        <a:pt x="743124" y="1380029"/>
                      </a:lnTo>
                      <a:lnTo>
                        <a:pt x="697894" y="1390853"/>
                      </a:lnTo>
                      <a:lnTo>
                        <a:pt x="651582" y="1398713"/>
                      </a:lnTo>
                      <a:lnTo>
                        <a:pt x="604293" y="1403507"/>
                      </a:lnTo>
                      <a:lnTo>
                        <a:pt x="556132" y="1405128"/>
                      </a:lnTo>
                      <a:lnTo>
                        <a:pt x="506172" y="1403355"/>
                      </a:lnTo>
                      <a:lnTo>
                        <a:pt x="456808" y="1398092"/>
                      </a:lnTo>
                      <a:lnTo>
                        <a:pt x="408205" y="1389418"/>
                      </a:lnTo>
                      <a:lnTo>
                        <a:pt x="360525" y="1377414"/>
                      </a:lnTo>
                      <a:lnTo>
                        <a:pt x="313933" y="1362159"/>
                      </a:lnTo>
                      <a:lnTo>
                        <a:pt x="268593" y="1343733"/>
                      </a:lnTo>
                      <a:lnTo>
                        <a:pt x="224667" y="1322217"/>
                      </a:lnTo>
                      <a:lnTo>
                        <a:pt x="182321" y="1297691"/>
                      </a:lnTo>
                      <a:lnTo>
                        <a:pt x="141717" y="1270235"/>
                      </a:lnTo>
                      <a:lnTo>
                        <a:pt x="103019" y="1239929"/>
                      </a:lnTo>
                      <a:lnTo>
                        <a:pt x="66391" y="1206853"/>
                      </a:lnTo>
                      <a:lnTo>
                        <a:pt x="31997" y="1171088"/>
                      </a:lnTo>
                      <a:lnTo>
                        <a:pt x="0" y="1132713"/>
                      </a:lnTo>
                    </a:path>
                  </a:pathLst>
                </a:custGeom>
                <a:ln w="15240">
                  <a:solidFill>
                    <a:srgbClr val="A6A6A6"/>
                  </a:solidFill>
                </a:ln>
              </p:spPr>
              <p:txBody>
                <a:bodyPr wrap="square" lIns="0" tIns="0" rIns="0" bIns="0" rtlCol="0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900" b="0" i="0" u="none" strike="noStrike" kern="0" cap="none" spc="0" normalizeH="0" baseline="0" noProof="0">
                    <a:ln>
                      <a:noFill/>
                    </a:ln>
                    <a:solidFill>
                      <a:srgbClr val="5C5C5C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65" name="object 18">
                  <a:extLst>
                    <a:ext uri="{FF2B5EF4-FFF2-40B4-BE49-F238E27FC236}">
                      <a16:creationId xmlns:a16="http://schemas.microsoft.com/office/drawing/2014/main" id="{72347FB7-5C39-4B33-9A90-2E094F90D361}"/>
                    </a:ext>
                  </a:extLst>
                </p:cNvPr>
                <p:cNvSpPr/>
                <p:nvPr/>
              </p:nvSpPr>
              <p:spPr>
                <a:xfrm>
                  <a:off x="3467100" y="1962911"/>
                  <a:ext cx="1278890" cy="12776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78889" h="1277620">
                      <a:moveTo>
                        <a:pt x="639317" y="0"/>
                      </a:moveTo>
                      <a:lnTo>
                        <a:pt x="687027" y="1751"/>
                      </a:lnTo>
                      <a:lnTo>
                        <a:pt x="733785" y="6923"/>
                      </a:lnTo>
                      <a:lnTo>
                        <a:pt x="779468" y="15392"/>
                      </a:lnTo>
                      <a:lnTo>
                        <a:pt x="823952" y="27034"/>
                      </a:lnTo>
                      <a:lnTo>
                        <a:pt x="867112" y="41727"/>
                      </a:lnTo>
                      <a:lnTo>
                        <a:pt x="908827" y="59346"/>
                      </a:lnTo>
                      <a:lnTo>
                        <a:pt x="948971" y="79769"/>
                      </a:lnTo>
                      <a:lnTo>
                        <a:pt x="987422" y="102871"/>
                      </a:lnTo>
                      <a:lnTo>
                        <a:pt x="1024055" y="128530"/>
                      </a:lnTo>
                      <a:lnTo>
                        <a:pt x="1058747" y="156622"/>
                      </a:lnTo>
                      <a:lnTo>
                        <a:pt x="1091374" y="187023"/>
                      </a:lnTo>
                      <a:lnTo>
                        <a:pt x="1121813" y="219610"/>
                      </a:lnTo>
                      <a:lnTo>
                        <a:pt x="1149940" y="254260"/>
                      </a:lnTo>
                      <a:lnTo>
                        <a:pt x="1175631" y="290849"/>
                      </a:lnTo>
                      <a:lnTo>
                        <a:pt x="1198763" y="329253"/>
                      </a:lnTo>
                      <a:lnTo>
                        <a:pt x="1219212" y="369350"/>
                      </a:lnTo>
                      <a:lnTo>
                        <a:pt x="1236854" y="411016"/>
                      </a:lnTo>
                      <a:lnTo>
                        <a:pt x="1251565" y="454127"/>
                      </a:lnTo>
                      <a:lnTo>
                        <a:pt x="1263223" y="498560"/>
                      </a:lnTo>
                      <a:lnTo>
                        <a:pt x="1271703" y="544191"/>
                      </a:lnTo>
                      <a:lnTo>
                        <a:pt x="1276882" y="590898"/>
                      </a:lnTo>
                      <a:lnTo>
                        <a:pt x="1278636" y="638555"/>
                      </a:lnTo>
                      <a:lnTo>
                        <a:pt x="1276882" y="686213"/>
                      </a:lnTo>
                      <a:lnTo>
                        <a:pt x="1271703" y="732920"/>
                      </a:lnTo>
                      <a:lnTo>
                        <a:pt x="1263223" y="778551"/>
                      </a:lnTo>
                      <a:lnTo>
                        <a:pt x="1251565" y="822984"/>
                      </a:lnTo>
                      <a:lnTo>
                        <a:pt x="1236854" y="866095"/>
                      </a:lnTo>
                      <a:lnTo>
                        <a:pt x="1219212" y="907761"/>
                      </a:lnTo>
                      <a:lnTo>
                        <a:pt x="1198763" y="947858"/>
                      </a:lnTo>
                      <a:lnTo>
                        <a:pt x="1175631" y="986262"/>
                      </a:lnTo>
                      <a:lnTo>
                        <a:pt x="1149940" y="1022851"/>
                      </a:lnTo>
                      <a:lnTo>
                        <a:pt x="1121813" y="1057501"/>
                      </a:lnTo>
                      <a:lnTo>
                        <a:pt x="1091374" y="1090088"/>
                      </a:lnTo>
                      <a:lnTo>
                        <a:pt x="1058747" y="1120489"/>
                      </a:lnTo>
                      <a:lnTo>
                        <a:pt x="1024055" y="1148581"/>
                      </a:lnTo>
                      <a:lnTo>
                        <a:pt x="987422" y="1174240"/>
                      </a:lnTo>
                      <a:lnTo>
                        <a:pt x="948971" y="1197342"/>
                      </a:lnTo>
                      <a:lnTo>
                        <a:pt x="908827" y="1217765"/>
                      </a:lnTo>
                      <a:lnTo>
                        <a:pt x="867112" y="1235384"/>
                      </a:lnTo>
                      <a:lnTo>
                        <a:pt x="823952" y="1250077"/>
                      </a:lnTo>
                      <a:lnTo>
                        <a:pt x="779468" y="1261719"/>
                      </a:lnTo>
                      <a:lnTo>
                        <a:pt x="733785" y="1270188"/>
                      </a:lnTo>
                      <a:lnTo>
                        <a:pt x="687027" y="1275360"/>
                      </a:lnTo>
                      <a:lnTo>
                        <a:pt x="639317" y="1277112"/>
                      </a:lnTo>
                      <a:lnTo>
                        <a:pt x="591608" y="1275360"/>
                      </a:lnTo>
                      <a:lnTo>
                        <a:pt x="544850" y="1270188"/>
                      </a:lnTo>
                      <a:lnTo>
                        <a:pt x="499167" y="1261719"/>
                      </a:lnTo>
                      <a:lnTo>
                        <a:pt x="454683" y="1250077"/>
                      </a:lnTo>
                      <a:lnTo>
                        <a:pt x="411523" y="1235384"/>
                      </a:lnTo>
                      <a:lnTo>
                        <a:pt x="369808" y="1217765"/>
                      </a:lnTo>
                      <a:lnTo>
                        <a:pt x="329664" y="1197342"/>
                      </a:lnTo>
                      <a:lnTo>
                        <a:pt x="291213" y="1174240"/>
                      </a:lnTo>
                      <a:lnTo>
                        <a:pt x="254580" y="1148581"/>
                      </a:lnTo>
                      <a:lnTo>
                        <a:pt x="219888" y="1120489"/>
                      </a:lnTo>
                      <a:lnTo>
                        <a:pt x="187261" y="1090088"/>
                      </a:lnTo>
                      <a:lnTo>
                        <a:pt x="156822" y="1057501"/>
                      </a:lnTo>
                      <a:lnTo>
                        <a:pt x="128695" y="1022851"/>
                      </a:lnTo>
                      <a:lnTo>
                        <a:pt x="103004" y="986262"/>
                      </a:lnTo>
                      <a:lnTo>
                        <a:pt x="79872" y="947858"/>
                      </a:lnTo>
                      <a:lnTo>
                        <a:pt x="59423" y="907761"/>
                      </a:lnTo>
                      <a:lnTo>
                        <a:pt x="41781" y="866095"/>
                      </a:lnTo>
                      <a:lnTo>
                        <a:pt x="27070" y="822984"/>
                      </a:lnTo>
                      <a:lnTo>
                        <a:pt x="15412" y="778551"/>
                      </a:lnTo>
                      <a:lnTo>
                        <a:pt x="6932" y="732920"/>
                      </a:lnTo>
                      <a:lnTo>
                        <a:pt x="1753" y="686213"/>
                      </a:lnTo>
                      <a:lnTo>
                        <a:pt x="0" y="638555"/>
                      </a:lnTo>
                      <a:lnTo>
                        <a:pt x="2217" y="585401"/>
                      </a:lnTo>
                      <a:lnTo>
                        <a:pt x="8812" y="532886"/>
                      </a:lnTo>
                      <a:lnTo>
                        <a:pt x="19696" y="481266"/>
                      </a:lnTo>
                      <a:lnTo>
                        <a:pt x="34782" y="430799"/>
                      </a:lnTo>
                      <a:lnTo>
                        <a:pt x="53981" y="381744"/>
                      </a:lnTo>
                      <a:lnTo>
                        <a:pt x="77206" y="334357"/>
                      </a:lnTo>
                      <a:lnTo>
                        <a:pt x="104368" y="288895"/>
                      </a:lnTo>
                      <a:lnTo>
                        <a:pt x="135382" y="245617"/>
                      </a:lnTo>
                    </a:path>
                  </a:pathLst>
                </a:custGeom>
                <a:ln w="15240">
                  <a:solidFill>
                    <a:srgbClr val="A6A6A6"/>
                  </a:solidFill>
                </a:ln>
              </p:spPr>
              <p:txBody>
                <a:bodyPr wrap="square" lIns="0" tIns="0" rIns="0" bIns="0" rtlCol="0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900" b="0" i="0" u="none" strike="noStrike" kern="0" cap="none" spc="0" normalizeH="0" baseline="0" noProof="0">
                    <a:ln>
                      <a:noFill/>
                    </a:ln>
                    <a:solidFill>
                      <a:srgbClr val="5C5C5C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66" name="object 19">
                  <a:extLst>
                    <a:ext uri="{FF2B5EF4-FFF2-40B4-BE49-F238E27FC236}">
                      <a16:creationId xmlns:a16="http://schemas.microsoft.com/office/drawing/2014/main" id="{7F4E4D78-4975-4E74-91AB-EA1696C348D4}"/>
                    </a:ext>
                  </a:extLst>
                </p:cNvPr>
                <p:cNvSpPr/>
                <p:nvPr/>
              </p:nvSpPr>
              <p:spPr>
                <a:xfrm>
                  <a:off x="4111752" y="1822704"/>
                  <a:ext cx="772795" cy="10826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72795" h="1082675">
                      <a:moveTo>
                        <a:pt x="0" y="0"/>
                      </a:moveTo>
                      <a:lnTo>
                        <a:pt x="48863" y="1521"/>
                      </a:lnTo>
                      <a:lnTo>
                        <a:pt x="96919" y="6026"/>
                      </a:lnTo>
                      <a:lnTo>
                        <a:pt x="144077" y="13424"/>
                      </a:lnTo>
                      <a:lnTo>
                        <a:pt x="190246" y="23624"/>
                      </a:lnTo>
                      <a:lnTo>
                        <a:pt x="235337" y="36535"/>
                      </a:lnTo>
                      <a:lnTo>
                        <a:pt x="279258" y="52067"/>
                      </a:lnTo>
                      <a:lnTo>
                        <a:pt x="321919" y="70128"/>
                      </a:lnTo>
                      <a:lnTo>
                        <a:pt x="363229" y="90629"/>
                      </a:lnTo>
                      <a:lnTo>
                        <a:pt x="403098" y="113479"/>
                      </a:lnTo>
                      <a:lnTo>
                        <a:pt x="441436" y="138587"/>
                      </a:lnTo>
                      <a:lnTo>
                        <a:pt x="478151" y="165862"/>
                      </a:lnTo>
                      <a:lnTo>
                        <a:pt x="513154" y="195214"/>
                      </a:lnTo>
                      <a:lnTo>
                        <a:pt x="546354" y="226552"/>
                      </a:lnTo>
                      <a:lnTo>
                        <a:pt x="577659" y="259785"/>
                      </a:lnTo>
                      <a:lnTo>
                        <a:pt x="606981" y="294823"/>
                      </a:lnTo>
                      <a:lnTo>
                        <a:pt x="634228" y="331575"/>
                      </a:lnTo>
                      <a:lnTo>
                        <a:pt x="659309" y="369951"/>
                      </a:lnTo>
                      <a:lnTo>
                        <a:pt x="682135" y="409859"/>
                      </a:lnTo>
                      <a:lnTo>
                        <a:pt x="702614" y="451210"/>
                      </a:lnTo>
                      <a:lnTo>
                        <a:pt x="720657" y="493912"/>
                      </a:lnTo>
                      <a:lnTo>
                        <a:pt x="736172" y="537875"/>
                      </a:lnTo>
                      <a:lnTo>
                        <a:pt x="749069" y="583008"/>
                      </a:lnTo>
                      <a:lnTo>
                        <a:pt x="759257" y="629221"/>
                      </a:lnTo>
                      <a:lnTo>
                        <a:pt x="766647" y="676422"/>
                      </a:lnTo>
                      <a:lnTo>
                        <a:pt x="771147" y="724522"/>
                      </a:lnTo>
                      <a:lnTo>
                        <a:pt x="772668" y="773430"/>
                      </a:lnTo>
                      <a:lnTo>
                        <a:pt x="770853" y="826453"/>
                      </a:lnTo>
                      <a:lnTo>
                        <a:pt x="765433" y="879103"/>
                      </a:lnTo>
                      <a:lnTo>
                        <a:pt x="756443" y="931195"/>
                      </a:lnTo>
                      <a:lnTo>
                        <a:pt x="743918" y="982547"/>
                      </a:lnTo>
                      <a:lnTo>
                        <a:pt x="727894" y="1032974"/>
                      </a:lnTo>
                      <a:lnTo>
                        <a:pt x="708406" y="1082294"/>
                      </a:lnTo>
                    </a:path>
                  </a:pathLst>
                </a:custGeom>
                <a:ln w="15240">
                  <a:solidFill>
                    <a:srgbClr val="A6A6A6"/>
                  </a:solidFill>
                </a:ln>
              </p:spPr>
              <p:txBody>
                <a:bodyPr wrap="square" lIns="0" tIns="0" rIns="0" bIns="0" rtlCol="0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900" b="0" i="0" u="none" strike="noStrike" kern="0" cap="none" spc="0" normalizeH="0" baseline="0" noProof="0">
                    <a:ln>
                      <a:noFill/>
                    </a:ln>
                    <a:solidFill>
                      <a:srgbClr val="5C5C5C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67" name="object 40">
                  <a:extLst>
                    <a:ext uri="{FF2B5EF4-FFF2-40B4-BE49-F238E27FC236}">
                      <a16:creationId xmlns:a16="http://schemas.microsoft.com/office/drawing/2014/main" id="{3A623F1C-07A7-42E6-979B-7C08AA283CF1}"/>
                    </a:ext>
                  </a:extLst>
                </p:cNvPr>
                <p:cNvSpPr/>
                <p:nvPr/>
              </p:nvSpPr>
              <p:spPr>
                <a:xfrm>
                  <a:off x="3547109" y="2032254"/>
                  <a:ext cx="1130935" cy="113093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0935" h="1130935">
                      <a:moveTo>
                        <a:pt x="565403" y="0"/>
                      </a:moveTo>
                      <a:lnTo>
                        <a:pt x="516614" y="2075"/>
                      </a:lnTo>
                      <a:lnTo>
                        <a:pt x="468978" y="8187"/>
                      </a:lnTo>
                      <a:lnTo>
                        <a:pt x="422665" y="18167"/>
                      </a:lnTo>
                      <a:lnTo>
                        <a:pt x="377844" y="31845"/>
                      </a:lnTo>
                      <a:lnTo>
                        <a:pt x="334686" y="49051"/>
                      </a:lnTo>
                      <a:lnTo>
                        <a:pt x="293360" y="69615"/>
                      </a:lnTo>
                      <a:lnTo>
                        <a:pt x="254034" y="93369"/>
                      </a:lnTo>
                      <a:lnTo>
                        <a:pt x="216881" y="120142"/>
                      </a:lnTo>
                      <a:lnTo>
                        <a:pt x="182067" y="149765"/>
                      </a:lnTo>
                      <a:lnTo>
                        <a:pt x="149765" y="182067"/>
                      </a:lnTo>
                      <a:lnTo>
                        <a:pt x="120142" y="216881"/>
                      </a:lnTo>
                      <a:lnTo>
                        <a:pt x="93369" y="254034"/>
                      </a:lnTo>
                      <a:lnTo>
                        <a:pt x="69615" y="293360"/>
                      </a:lnTo>
                      <a:lnTo>
                        <a:pt x="49051" y="334686"/>
                      </a:lnTo>
                      <a:lnTo>
                        <a:pt x="31845" y="377844"/>
                      </a:lnTo>
                      <a:lnTo>
                        <a:pt x="18167" y="422665"/>
                      </a:lnTo>
                      <a:lnTo>
                        <a:pt x="8187" y="468978"/>
                      </a:lnTo>
                      <a:lnTo>
                        <a:pt x="2075" y="516614"/>
                      </a:lnTo>
                      <a:lnTo>
                        <a:pt x="0" y="565404"/>
                      </a:lnTo>
                      <a:lnTo>
                        <a:pt x="2075" y="614193"/>
                      </a:lnTo>
                      <a:lnTo>
                        <a:pt x="8187" y="661829"/>
                      </a:lnTo>
                      <a:lnTo>
                        <a:pt x="18167" y="708142"/>
                      </a:lnTo>
                      <a:lnTo>
                        <a:pt x="31845" y="752963"/>
                      </a:lnTo>
                      <a:lnTo>
                        <a:pt x="49051" y="796121"/>
                      </a:lnTo>
                      <a:lnTo>
                        <a:pt x="69615" y="837447"/>
                      </a:lnTo>
                      <a:lnTo>
                        <a:pt x="93369" y="876773"/>
                      </a:lnTo>
                      <a:lnTo>
                        <a:pt x="120142" y="913926"/>
                      </a:lnTo>
                      <a:lnTo>
                        <a:pt x="149765" y="948740"/>
                      </a:lnTo>
                      <a:lnTo>
                        <a:pt x="182067" y="981042"/>
                      </a:lnTo>
                      <a:lnTo>
                        <a:pt x="216881" y="1010665"/>
                      </a:lnTo>
                      <a:lnTo>
                        <a:pt x="254034" y="1037438"/>
                      </a:lnTo>
                      <a:lnTo>
                        <a:pt x="293360" y="1061192"/>
                      </a:lnTo>
                      <a:lnTo>
                        <a:pt x="334686" y="1081756"/>
                      </a:lnTo>
                      <a:lnTo>
                        <a:pt x="377844" y="1098962"/>
                      </a:lnTo>
                      <a:lnTo>
                        <a:pt x="422665" y="1112640"/>
                      </a:lnTo>
                      <a:lnTo>
                        <a:pt x="468978" y="1122620"/>
                      </a:lnTo>
                      <a:lnTo>
                        <a:pt x="516614" y="1128732"/>
                      </a:lnTo>
                      <a:lnTo>
                        <a:pt x="565403" y="1130808"/>
                      </a:lnTo>
                      <a:lnTo>
                        <a:pt x="614193" y="1128732"/>
                      </a:lnTo>
                      <a:lnTo>
                        <a:pt x="661829" y="1122620"/>
                      </a:lnTo>
                      <a:lnTo>
                        <a:pt x="708142" y="1112640"/>
                      </a:lnTo>
                      <a:lnTo>
                        <a:pt x="752963" y="1098962"/>
                      </a:lnTo>
                      <a:lnTo>
                        <a:pt x="796121" y="1081756"/>
                      </a:lnTo>
                      <a:lnTo>
                        <a:pt x="837447" y="1061192"/>
                      </a:lnTo>
                      <a:lnTo>
                        <a:pt x="876773" y="1037438"/>
                      </a:lnTo>
                      <a:lnTo>
                        <a:pt x="913926" y="1010665"/>
                      </a:lnTo>
                      <a:lnTo>
                        <a:pt x="948740" y="981042"/>
                      </a:lnTo>
                      <a:lnTo>
                        <a:pt x="981042" y="948740"/>
                      </a:lnTo>
                      <a:lnTo>
                        <a:pt x="1010665" y="913926"/>
                      </a:lnTo>
                      <a:lnTo>
                        <a:pt x="1037438" y="876773"/>
                      </a:lnTo>
                      <a:lnTo>
                        <a:pt x="1061192" y="837447"/>
                      </a:lnTo>
                      <a:lnTo>
                        <a:pt x="1081756" y="796121"/>
                      </a:lnTo>
                      <a:lnTo>
                        <a:pt x="1098962" y="752963"/>
                      </a:lnTo>
                      <a:lnTo>
                        <a:pt x="1112640" y="708142"/>
                      </a:lnTo>
                      <a:lnTo>
                        <a:pt x="1122620" y="661829"/>
                      </a:lnTo>
                      <a:lnTo>
                        <a:pt x="1128732" y="614193"/>
                      </a:lnTo>
                      <a:lnTo>
                        <a:pt x="1130807" y="565404"/>
                      </a:lnTo>
                      <a:lnTo>
                        <a:pt x="1128732" y="516614"/>
                      </a:lnTo>
                      <a:lnTo>
                        <a:pt x="1122620" y="468978"/>
                      </a:lnTo>
                      <a:lnTo>
                        <a:pt x="1112640" y="422665"/>
                      </a:lnTo>
                      <a:lnTo>
                        <a:pt x="1098962" y="377844"/>
                      </a:lnTo>
                      <a:lnTo>
                        <a:pt x="1081756" y="334686"/>
                      </a:lnTo>
                      <a:lnTo>
                        <a:pt x="1061192" y="293360"/>
                      </a:lnTo>
                      <a:lnTo>
                        <a:pt x="1037438" y="254034"/>
                      </a:lnTo>
                      <a:lnTo>
                        <a:pt x="1010665" y="216881"/>
                      </a:lnTo>
                      <a:lnTo>
                        <a:pt x="981042" y="182067"/>
                      </a:lnTo>
                      <a:lnTo>
                        <a:pt x="948740" y="149765"/>
                      </a:lnTo>
                      <a:lnTo>
                        <a:pt x="913926" y="120142"/>
                      </a:lnTo>
                      <a:lnTo>
                        <a:pt x="876773" y="93369"/>
                      </a:lnTo>
                      <a:lnTo>
                        <a:pt x="837447" y="69615"/>
                      </a:lnTo>
                      <a:lnTo>
                        <a:pt x="796121" y="49051"/>
                      </a:lnTo>
                      <a:lnTo>
                        <a:pt x="752963" y="31845"/>
                      </a:lnTo>
                      <a:lnTo>
                        <a:pt x="708142" y="18167"/>
                      </a:lnTo>
                      <a:lnTo>
                        <a:pt x="661829" y="8187"/>
                      </a:lnTo>
                      <a:lnTo>
                        <a:pt x="614193" y="2075"/>
                      </a:lnTo>
                      <a:lnTo>
                        <a:pt x="56540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</p:spPr>
              <p:txBody>
                <a:bodyPr wrap="square" lIns="0" tIns="0" rIns="0" bIns="0" rtlCol="0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900" b="0" i="0" u="none" strike="noStrike" kern="0" cap="none" spc="0" normalizeH="0" baseline="0" noProof="0">
                    <a:ln>
                      <a:noFill/>
                    </a:ln>
                    <a:solidFill>
                      <a:srgbClr val="5C5C5C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68" name="object 41">
                  <a:extLst>
                    <a:ext uri="{FF2B5EF4-FFF2-40B4-BE49-F238E27FC236}">
                      <a16:creationId xmlns:a16="http://schemas.microsoft.com/office/drawing/2014/main" id="{52170709-DE41-4FFE-B01D-5363641D2A28}"/>
                    </a:ext>
                  </a:extLst>
                </p:cNvPr>
                <p:cNvSpPr/>
                <p:nvPr/>
              </p:nvSpPr>
              <p:spPr>
                <a:xfrm>
                  <a:off x="3547109" y="2032254"/>
                  <a:ext cx="1130935" cy="113093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0935" h="1130935">
                      <a:moveTo>
                        <a:pt x="0" y="565404"/>
                      </a:moveTo>
                      <a:lnTo>
                        <a:pt x="2075" y="516614"/>
                      </a:lnTo>
                      <a:lnTo>
                        <a:pt x="8187" y="468978"/>
                      </a:lnTo>
                      <a:lnTo>
                        <a:pt x="18167" y="422665"/>
                      </a:lnTo>
                      <a:lnTo>
                        <a:pt x="31845" y="377844"/>
                      </a:lnTo>
                      <a:lnTo>
                        <a:pt x="49051" y="334686"/>
                      </a:lnTo>
                      <a:lnTo>
                        <a:pt x="69615" y="293360"/>
                      </a:lnTo>
                      <a:lnTo>
                        <a:pt x="93369" y="254034"/>
                      </a:lnTo>
                      <a:lnTo>
                        <a:pt x="120142" y="216881"/>
                      </a:lnTo>
                      <a:lnTo>
                        <a:pt x="149765" y="182067"/>
                      </a:lnTo>
                      <a:lnTo>
                        <a:pt x="182067" y="149765"/>
                      </a:lnTo>
                      <a:lnTo>
                        <a:pt x="216881" y="120142"/>
                      </a:lnTo>
                      <a:lnTo>
                        <a:pt x="254034" y="93369"/>
                      </a:lnTo>
                      <a:lnTo>
                        <a:pt x="293360" y="69615"/>
                      </a:lnTo>
                      <a:lnTo>
                        <a:pt x="334686" y="49051"/>
                      </a:lnTo>
                      <a:lnTo>
                        <a:pt x="377844" y="31845"/>
                      </a:lnTo>
                      <a:lnTo>
                        <a:pt x="422665" y="18167"/>
                      </a:lnTo>
                      <a:lnTo>
                        <a:pt x="468978" y="8187"/>
                      </a:lnTo>
                      <a:lnTo>
                        <a:pt x="516614" y="2075"/>
                      </a:lnTo>
                      <a:lnTo>
                        <a:pt x="565403" y="0"/>
                      </a:lnTo>
                      <a:lnTo>
                        <a:pt x="614193" y="2075"/>
                      </a:lnTo>
                      <a:lnTo>
                        <a:pt x="661829" y="8187"/>
                      </a:lnTo>
                      <a:lnTo>
                        <a:pt x="708142" y="18167"/>
                      </a:lnTo>
                      <a:lnTo>
                        <a:pt x="752963" y="31845"/>
                      </a:lnTo>
                      <a:lnTo>
                        <a:pt x="796121" y="49051"/>
                      </a:lnTo>
                      <a:lnTo>
                        <a:pt x="837447" y="69615"/>
                      </a:lnTo>
                      <a:lnTo>
                        <a:pt x="876773" y="93369"/>
                      </a:lnTo>
                      <a:lnTo>
                        <a:pt x="913926" y="120142"/>
                      </a:lnTo>
                      <a:lnTo>
                        <a:pt x="948740" y="149765"/>
                      </a:lnTo>
                      <a:lnTo>
                        <a:pt x="981042" y="182067"/>
                      </a:lnTo>
                      <a:lnTo>
                        <a:pt x="1010665" y="216881"/>
                      </a:lnTo>
                      <a:lnTo>
                        <a:pt x="1037438" y="254034"/>
                      </a:lnTo>
                      <a:lnTo>
                        <a:pt x="1061192" y="293360"/>
                      </a:lnTo>
                      <a:lnTo>
                        <a:pt x="1081756" y="334686"/>
                      </a:lnTo>
                      <a:lnTo>
                        <a:pt x="1098962" y="377844"/>
                      </a:lnTo>
                      <a:lnTo>
                        <a:pt x="1112640" y="422665"/>
                      </a:lnTo>
                      <a:lnTo>
                        <a:pt x="1122620" y="468978"/>
                      </a:lnTo>
                      <a:lnTo>
                        <a:pt x="1128732" y="516614"/>
                      </a:lnTo>
                      <a:lnTo>
                        <a:pt x="1130807" y="565404"/>
                      </a:lnTo>
                      <a:lnTo>
                        <a:pt x="1128732" y="614193"/>
                      </a:lnTo>
                      <a:lnTo>
                        <a:pt x="1122620" y="661829"/>
                      </a:lnTo>
                      <a:lnTo>
                        <a:pt x="1112640" y="708142"/>
                      </a:lnTo>
                      <a:lnTo>
                        <a:pt x="1098962" y="752963"/>
                      </a:lnTo>
                      <a:lnTo>
                        <a:pt x="1081756" y="796121"/>
                      </a:lnTo>
                      <a:lnTo>
                        <a:pt x="1061192" y="837447"/>
                      </a:lnTo>
                      <a:lnTo>
                        <a:pt x="1037438" y="876773"/>
                      </a:lnTo>
                      <a:lnTo>
                        <a:pt x="1010665" y="913926"/>
                      </a:lnTo>
                      <a:lnTo>
                        <a:pt x="981042" y="948740"/>
                      </a:lnTo>
                      <a:lnTo>
                        <a:pt x="948740" y="981042"/>
                      </a:lnTo>
                      <a:lnTo>
                        <a:pt x="913926" y="1010665"/>
                      </a:lnTo>
                      <a:lnTo>
                        <a:pt x="876773" y="1037438"/>
                      </a:lnTo>
                      <a:lnTo>
                        <a:pt x="837447" y="1061192"/>
                      </a:lnTo>
                      <a:lnTo>
                        <a:pt x="796121" y="1081756"/>
                      </a:lnTo>
                      <a:lnTo>
                        <a:pt x="752963" y="1098962"/>
                      </a:lnTo>
                      <a:lnTo>
                        <a:pt x="708142" y="1112640"/>
                      </a:lnTo>
                      <a:lnTo>
                        <a:pt x="661829" y="1122620"/>
                      </a:lnTo>
                      <a:lnTo>
                        <a:pt x="614193" y="1128732"/>
                      </a:lnTo>
                      <a:lnTo>
                        <a:pt x="565403" y="1130808"/>
                      </a:lnTo>
                      <a:lnTo>
                        <a:pt x="516614" y="1128732"/>
                      </a:lnTo>
                      <a:lnTo>
                        <a:pt x="468978" y="1122620"/>
                      </a:lnTo>
                      <a:lnTo>
                        <a:pt x="422665" y="1112640"/>
                      </a:lnTo>
                      <a:lnTo>
                        <a:pt x="377844" y="1098962"/>
                      </a:lnTo>
                      <a:lnTo>
                        <a:pt x="334686" y="1081756"/>
                      </a:lnTo>
                      <a:lnTo>
                        <a:pt x="293360" y="1061192"/>
                      </a:lnTo>
                      <a:lnTo>
                        <a:pt x="254034" y="1037438"/>
                      </a:lnTo>
                      <a:lnTo>
                        <a:pt x="216881" y="1010665"/>
                      </a:lnTo>
                      <a:lnTo>
                        <a:pt x="182067" y="981042"/>
                      </a:lnTo>
                      <a:lnTo>
                        <a:pt x="149765" y="948740"/>
                      </a:lnTo>
                      <a:lnTo>
                        <a:pt x="120142" y="913926"/>
                      </a:lnTo>
                      <a:lnTo>
                        <a:pt x="93369" y="876773"/>
                      </a:lnTo>
                      <a:lnTo>
                        <a:pt x="69615" y="837447"/>
                      </a:lnTo>
                      <a:lnTo>
                        <a:pt x="49051" y="796121"/>
                      </a:lnTo>
                      <a:lnTo>
                        <a:pt x="31845" y="752963"/>
                      </a:lnTo>
                      <a:lnTo>
                        <a:pt x="18167" y="708142"/>
                      </a:lnTo>
                      <a:lnTo>
                        <a:pt x="8187" y="661829"/>
                      </a:lnTo>
                      <a:lnTo>
                        <a:pt x="2075" y="614193"/>
                      </a:lnTo>
                      <a:lnTo>
                        <a:pt x="0" y="565404"/>
                      </a:lnTo>
                      <a:close/>
                    </a:path>
                  </a:pathLst>
                </a:custGeom>
                <a:ln w="19812">
                  <a:solidFill>
                    <a:srgbClr val="A6A6A6"/>
                  </a:solidFill>
                </a:ln>
              </p:spPr>
              <p:txBody>
                <a:bodyPr wrap="square" lIns="0" tIns="0" rIns="0" bIns="0" rtlCol="0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900" b="0" i="0" u="none" strike="noStrike" kern="0" cap="none" spc="0" normalizeH="0" baseline="0" noProof="0">
                    <a:ln>
                      <a:noFill/>
                    </a:ln>
                    <a:solidFill>
                      <a:srgbClr val="5C5C5C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62" name="object 21">
                <a:extLst>
                  <a:ext uri="{FF2B5EF4-FFF2-40B4-BE49-F238E27FC236}">
                    <a16:creationId xmlns:a16="http://schemas.microsoft.com/office/drawing/2014/main" id="{AA94667E-179D-4C24-BB70-2FA073913363}"/>
                  </a:ext>
                </a:extLst>
              </p:cNvPr>
              <p:cNvSpPr txBox="1"/>
              <p:nvPr/>
            </p:nvSpPr>
            <p:spPr>
              <a:xfrm>
                <a:off x="2350494" y="2975372"/>
                <a:ext cx="1399885" cy="276999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 marL="12700" marR="5080" lvl="0" indent="635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b-NO" sz="900" b="0" i="0" u="none" strike="noStrike" kern="0" cap="none" spc="-1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Verdana"/>
                  </a:rPr>
                  <a:t>Oppretter / kontrollerer og fullfører innkjøpsforespørsel</a:t>
                </a:r>
              </a:p>
            </p:txBody>
          </p:sp>
          <p:sp>
            <p:nvSpPr>
              <p:cNvPr id="63" name="object 66">
                <a:extLst>
                  <a:ext uri="{FF2B5EF4-FFF2-40B4-BE49-F238E27FC236}">
                    <a16:creationId xmlns:a16="http://schemas.microsoft.com/office/drawing/2014/main" id="{06F51D83-4CE5-4EE5-85A1-92CBD96EC82E}"/>
                  </a:ext>
                </a:extLst>
              </p:cNvPr>
              <p:cNvSpPr/>
              <p:nvPr/>
            </p:nvSpPr>
            <p:spPr>
              <a:xfrm>
                <a:off x="2613388" y="2200392"/>
                <a:ext cx="534975" cy="445470"/>
              </a:xfrm>
              <a:prstGeom prst="rect">
                <a:avLst/>
              </a:prstGeom>
              <a:blipFill>
                <a:blip r:embed="rId1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a:blipFill>
            </p:spPr>
            <p:txBody>
              <a:bodyPr wrap="square" lIns="0" tIns="0" rIns="0" bIns="0" rtlCol="0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900" b="0" i="0" u="none" strike="noStrike" kern="0" cap="none" spc="0" normalizeH="0" baseline="0" noProof="0">
                  <a:ln>
                    <a:noFill/>
                  </a:ln>
                  <a:solidFill>
                    <a:srgbClr val="5C5C5C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</p:grp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B783C816-13FC-40E8-B793-1B3B299139AE}"/>
                </a:ext>
              </a:extLst>
            </p:cNvPr>
            <p:cNvSpPr txBox="1"/>
            <p:nvPr/>
          </p:nvSpPr>
          <p:spPr>
            <a:xfrm>
              <a:off x="4689951" y="2983535"/>
              <a:ext cx="1282148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5C5C5C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Innkjøper</a:t>
              </a:r>
              <a:endPara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31" name="object 8">
            <a:extLst>
              <a:ext uri="{FF2B5EF4-FFF2-40B4-BE49-F238E27FC236}">
                <a16:creationId xmlns:a16="http://schemas.microsoft.com/office/drawing/2014/main" id="{1AF27EB5-F9C2-4A61-91A0-C8D6D7E8C465}"/>
              </a:ext>
            </a:extLst>
          </p:cNvPr>
          <p:cNvSpPr/>
          <p:nvPr/>
        </p:nvSpPr>
        <p:spPr>
          <a:xfrm>
            <a:off x="4484780" y="2320266"/>
            <a:ext cx="189709" cy="538893"/>
          </a:xfrm>
          <a:prstGeom prst="rect">
            <a:avLst/>
          </a:prstGeom>
          <a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761C3646-9CAC-46D2-8CCF-9ED0351A70D8}"/>
              </a:ext>
            </a:extLst>
          </p:cNvPr>
          <p:cNvSpPr txBox="1"/>
          <p:nvPr/>
        </p:nvSpPr>
        <p:spPr>
          <a:xfrm>
            <a:off x="4318516" y="2044203"/>
            <a:ext cx="99449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 err="1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Kostnads-godkjenner</a:t>
            </a: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5C5C5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33" name="object 52">
            <a:extLst>
              <a:ext uri="{FF2B5EF4-FFF2-40B4-BE49-F238E27FC236}">
                <a16:creationId xmlns:a16="http://schemas.microsoft.com/office/drawing/2014/main" id="{56F7333C-238E-4671-802A-5640AF848B00}"/>
              </a:ext>
            </a:extLst>
          </p:cNvPr>
          <p:cNvSpPr txBox="1"/>
          <p:nvPr/>
        </p:nvSpPr>
        <p:spPr>
          <a:xfrm>
            <a:off x="4608896" y="1474647"/>
            <a:ext cx="1305617" cy="289182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 lvl="0" indent="0" algn="ctr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-5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Godkjenner</a:t>
            </a:r>
            <a:r>
              <a:rPr kumimoji="0" lang="en-US" sz="900" b="0" i="0" u="none" strike="noStrike" kern="1200" cap="none" spc="-5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 </a:t>
            </a:r>
            <a:r>
              <a:rPr kumimoji="0" lang="en-US" sz="900" b="0" i="0" u="none" strike="noStrike" kern="1200" cap="none" spc="-5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innkjøpsforespørsel</a:t>
            </a:r>
            <a:endParaRPr kumimoji="0" lang="en-US" sz="900" b="0" i="0" u="none" strike="noStrike" kern="1200" cap="none" spc="-5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Verdana"/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A5EBDB1A-F233-41F2-B11D-4B2D0768B197}"/>
              </a:ext>
            </a:extLst>
          </p:cNvPr>
          <p:cNvGrpSpPr/>
          <p:nvPr/>
        </p:nvGrpSpPr>
        <p:grpSpPr>
          <a:xfrm>
            <a:off x="5192343" y="3218838"/>
            <a:ext cx="1038530" cy="1130932"/>
            <a:chOff x="3467100" y="1822704"/>
            <a:chExt cx="1417447" cy="1481455"/>
          </a:xfrm>
        </p:grpSpPr>
        <p:sp>
          <p:nvSpPr>
            <p:cNvPr id="54" name="object 17">
              <a:extLst>
                <a:ext uri="{FF2B5EF4-FFF2-40B4-BE49-F238E27FC236}">
                  <a16:creationId xmlns:a16="http://schemas.microsoft.com/office/drawing/2014/main" id="{73DA793B-CF37-41CC-A4C0-B083CAD94E1B}"/>
                </a:ext>
              </a:extLst>
            </p:cNvPr>
            <p:cNvSpPr/>
            <p:nvPr/>
          </p:nvSpPr>
          <p:spPr>
            <a:xfrm>
              <a:off x="3550284" y="1898904"/>
              <a:ext cx="1259840" cy="1405255"/>
            </a:xfrm>
            <a:custGeom>
              <a:avLst/>
              <a:gdLst/>
              <a:ahLst/>
              <a:cxnLst/>
              <a:rect l="l" t="t" r="r" b="b"/>
              <a:pathLst>
                <a:path w="1259839" h="1405254">
                  <a:moveTo>
                    <a:pt x="556132" y="0"/>
                  </a:moveTo>
                  <a:lnTo>
                    <a:pt x="604293" y="1620"/>
                  </a:lnTo>
                  <a:lnTo>
                    <a:pt x="651582" y="6414"/>
                  </a:lnTo>
                  <a:lnTo>
                    <a:pt x="697894" y="14274"/>
                  </a:lnTo>
                  <a:lnTo>
                    <a:pt x="743124" y="25098"/>
                  </a:lnTo>
                  <a:lnTo>
                    <a:pt x="787169" y="38780"/>
                  </a:lnTo>
                  <a:lnTo>
                    <a:pt x="829923" y="55215"/>
                  </a:lnTo>
                  <a:lnTo>
                    <a:pt x="871281" y="74299"/>
                  </a:lnTo>
                  <a:lnTo>
                    <a:pt x="911140" y="95927"/>
                  </a:lnTo>
                  <a:lnTo>
                    <a:pt x="949394" y="119994"/>
                  </a:lnTo>
                  <a:lnTo>
                    <a:pt x="985938" y="146397"/>
                  </a:lnTo>
                  <a:lnTo>
                    <a:pt x="1020669" y="175029"/>
                  </a:lnTo>
                  <a:lnTo>
                    <a:pt x="1053480" y="205787"/>
                  </a:lnTo>
                  <a:lnTo>
                    <a:pt x="1084269" y="238566"/>
                  </a:lnTo>
                  <a:lnTo>
                    <a:pt x="1112929" y="273261"/>
                  </a:lnTo>
                  <a:lnTo>
                    <a:pt x="1139356" y="309767"/>
                  </a:lnTo>
                  <a:lnTo>
                    <a:pt x="1163447" y="347980"/>
                  </a:lnTo>
                  <a:lnTo>
                    <a:pt x="1185094" y="387794"/>
                  </a:lnTo>
                  <a:lnTo>
                    <a:pt x="1204196" y="429107"/>
                  </a:lnTo>
                  <a:lnTo>
                    <a:pt x="1220645" y="471812"/>
                  </a:lnTo>
                  <a:lnTo>
                    <a:pt x="1234339" y="515805"/>
                  </a:lnTo>
                  <a:lnTo>
                    <a:pt x="1245172" y="560981"/>
                  </a:lnTo>
                  <a:lnTo>
                    <a:pt x="1253039" y="607236"/>
                  </a:lnTo>
                  <a:lnTo>
                    <a:pt x="1257836" y="654465"/>
                  </a:lnTo>
                  <a:lnTo>
                    <a:pt x="1259459" y="702563"/>
                  </a:lnTo>
                  <a:lnTo>
                    <a:pt x="1257836" y="750662"/>
                  </a:lnTo>
                  <a:lnTo>
                    <a:pt x="1253039" y="797891"/>
                  </a:lnTo>
                  <a:lnTo>
                    <a:pt x="1245172" y="844146"/>
                  </a:lnTo>
                  <a:lnTo>
                    <a:pt x="1234339" y="889322"/>
                  </a:lnTo>
                  <a:lnTo>
                    <a:pt x="1220645" y="933315"/>
                  </a:lnTo>
                  <a:lnTo>
                    <a:pt x="1204196" y="976020"/>
                  </a:lnTo>
                  <a:lnTo>
                    <a:pt x="1185094" y="1017333"/>
                  </a:lnTo>
                  <a:lnTo>
                    <a:pt x="1163447" y="1057147"/>
                  </a:lnTo>
                  <a:lnTo>
                    <a:pt x="1139356" y="1095360"/>
                  </a:lnTo>
                  <a:lnTo>
                    <a:pt x="1112929" y="1131866"/>
                  </a:lnTo>
                  <a:lnTo>
                    <a:pt x="1084269" y="1166561"/>
                  </a:lnTo>
                  <a:lnTo>
                    <a:pt x="1053480" y="1199340"/>
                  </a:lnTo>
                  <a:lnTo>
                    <a:pt x="1020669" y="1230098"/>
                  </a:lnTo>
                  <a:lnTo>
                    <a:pt x="985938" y="1258730"/>
                  </a:lnTo>
                  <a:lnTo>
                    <a:pt x="949394" y="1285133"/>
                  </a:lnTo>
                  <a:lnTo>
                    <a:pt x="911140" y="1309200"/>
                  </a:lnTo>
                  <a:lnTo>
                    <a:pt x="871281" y="1330828"/>
                  </a:lnTo>
                  <a:lnTo>
                    <a:pt x="829923" y="1349912"/>
                  </a:lnTo>
                  <a:lnTo>
                    <a:pt x="787169" y="1366347"/>
                  </a:lnTo>
                  <a:lnTo>
                    <a:pt x="743124" y="1380029"/>
                  </a:lnTo>
                  <a:lnTo>
                    <a:pt x="697894" y="1390853"/>
                  </a:lnTo>
                  <a:lnTo>
                    <a:pt x="651582" y="1398713"/>
                  </a:lnTo>
                  <a:lnTo>
                    <a:pt x="604293" y="1403507"/>
                  </a:lnTo>
                  <a:lnTo>
                    <a:pt x="556132" y="1405128"/>
                  </a:lnTo>
                  <a:lnTo>
                    <a:pt x="506172" y="1403355"/>
                  </a:lnTo>
                  <a:lnTo>
                    <a:pt x="456808" y="1398092"/>
                  </a:lnTo>
                  <a:lnTo>
                    <a:pt x="408205" y="1389418"/>
                  </a:lnTo>
                  <a:lnTo>
                    <a:pt x="360525" y="1377414"/>
                  </a:lnTo>
                  <a:lnTo>
                    <a:pt x="313933" y="1362159"/>
                  </a:lnTo>
                  <a:lnTo>
                    <a:pt x="268593" y="1343733"/>
                  </a:lnTo>
                  <a:lnTo>
                    <a:pt x="224667" y="1322217"/>
                  </a:lnTo>
                  <a:lnTo>
                    <a:pt x="182321" y="1297691"/>
                  </a:lnTo>
                  <a:lnTo>
                    <a:pt x="141717" y="1270235"/>
                  </a:lnTo>
                  <a:lnTo>
                    <a:pt x="103019" y="1239929"/>
                  </a:lnTo>
                  <a:lnTo>
                    <a:pt x="66391" y="1206853"/>
                  </a:lnTo>
                  <a:lnTo>
                    <a:pt x="31997" y="1171088"/>
                  </a:lnTo>
                  <a:lnTo>
                    <a:pt x="0" y="1132713"/>
                  </a:lnTo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55" name="object 18">
              <a:extLst>
                <a:ext uri="{FF2B5EF4-FFF2-40B4-BE49-F238E27FC236}">
                  <a16:creationId xmlns:a16="http://schemas.microsoft.com/office/drawing/2014/main" id="{972E0CE8-6DAF-46CA-941C-385E55B9C990}"/>
                </a:ext>
              </a:extLst>
            </p:cNvPr>
            <p:cNvSpPr/>
            <p:nvPr/>
          </p:nvSpPr>
          <p:spPr>
            <a:xfrm>
              <a:off x="3467100" y="1962911"/>
              <a:ext cx="1278890" cy="1277620"/>
            </a:xfrm>
            <a:custGeom>
              <a:avLst/>
              <a:gdLst/>
              <a:ahLst/>
              <a:cxnLst/>
              <a:rect l="l" t="t" r="r" b="b"/>
              <a:pathLst>
                <a:path w="1278889" h="1277620">
                  <a:moveTo>
                    <a:pt x="639317" y="0"/>
                  </a:moveTo>
                  <a:lnTo>
                    <a:pt x="687027" y="1751"/>
                  </a:lnTo>
                  <a:lnTo>
                    <a:pt x="733785" y="6923"/>
                  </a:lnTo>
                  <a:lnTo>
                    <a:pt x="779468" y="15392"/>
                  </a:lnTo>
                  <a:lnTo>
                    <a:pt x="823952" y="27034"/>
                  </a:lnTo>
                  <a:lnTo>
                    <a:pt x="867112" y="41727"/>
                  </a:lnTo>
                  <a:lnTo>
                    <a:pt x="908827" y="59346"/>
                  </a:lnTo>
                  <a:lnTo>
                    <a:pt x="948971" y="79769"/>
                  </a:lnTo>
                  <a:lnTo>
                    <a:pt x="987422" y="102871"/>
                  </a:lnTo>
                  <a:lnTo>
                    <a:pt x="1024055" y="128530"/>
                  </a:lnTo>
                  <a:lnTo>
                    <a:pt x="1058747" y="156622"/>
                  </a:lnTo>
                  <a:lnTo>
                    <a:pt x="1091374" y="187023"/>
                  </a:lnTo>
                  <a:lnTo>
                    <a:pt x="1121813" y="219610"/>
                  </a:lnTo>
                  <a:lnTo>
                    <a:pt x="1149940" y="254260"/>
                  </a:lnTo>
                  <a:lnTo>
                    <a:pt x="1175631" y="290849"/>
                  </a:lnTo>
                  <a:lnTo>
                    <a:pt x="1198763" y="329253"/>
                  </a:lnTo>
                  <a:lnTo>
                    <a:pt x="1219212" y="369350"/>
                  </a:lnTo>
                  <a:lnTo>
                    <a:pt x="1236854" y="411016"/>
                  </a:lnTo>
                  <a:lnTo>
                    <a:pt x="1251565" y="454127"/>
                  </a:lnTo>
                  <a:lnTo>
                    <a:pt x="1263223" y="498560"/>
                  </a:lnTo>
                  <a:lnTo>
                    <a:pt x="1271703" y="544191"/>
                  </a:lnTo>
                  <a:lnTo>
                    <a:pt x="1276882" y="590898"/>
                  </a:lnTo>
                  <a:lnTo>
                    <a:pt x="1278636" y="638555"/>
                  </a:lnTo>
                  <a:lnTo>
                    <a:pt x="1276882" y="686213"/>
                  </a:lnTo>
                  <a:lnTo>
                    <a:pt x="1271703" y="732920"/>
                  </a:lnTo>
                  <a:lnTo>
                    <a:pt x="1263223" y="778551"/>
                  </a:lnTo>
                  <a:lnTo>
                    <a:pt x="1251565" y="822984"/>
                  </a:lnTo>
                  <a:lnTo>
                    <a:pt x="1236854" y="866095"/>
                  </a:lnTo>
                  <a:lnTo>
                    <a:pt x="1219212" y="907761"/>
                  </a:lnTo>
                  <a:lnTo>
                    <a:pt x="1198763" y="947858"/>
                  </a:lnTo>
                  <a:lnTo>
                    <a:pt x="1175631" y="986262"/>
                  </a:lnTo>
                  <a:lnTo>
                    <a:pt x="1149940" y="1022851"/>
                  </a:lnTo>
                  <a:lnTo>
                    <a:pt x="1121813" y="1057501"/>
                  </a:lnTo>
                  <a:lnTo>
                    <a:pt x="1091374" y="1090088"/>
                  </a:lnTo>
                  <a:lnTo>
                    <a:pt x="1058747" y="1120489"/>
                  </a:lnTo>
                  <a:lnTo>
                    <a:pt x="1024055" y="1148581"/>
                  </a:lnTo>
                  <a:lnTo>
                    <a:pt x="987422" y="1174240"/>
                  </a:lnTo>
                  <a:lnTo>
                    <a:pt x="948971" y="1197342"/>
                  </a:lnTo>
                  <a:lnTo>
                    <a:pt x="908827" y="1217765"/>
                  </a:lnTo>
                  <a:lnTo>
                    <a:pt x="867112" y="1235384"/>
                  </a:lnTo>
                  <a:lnTo>
                    <a:pt x="823952" y="1250077"/>
                  </a:lnTo>
                  <a:lnTo>
                    <a:pt x="779468" y="1261719"/>
                  </a:lnTo>
                  <a:lnTo>
                    <a:pt x="733785" y="1270188"/>
                  </a:lnTo>
                  <a:lnTo>
                    <a:pt x="687027" y="1275360"/>
                  </a:lnTo>
                  <a:lnTo>
                    <a:pt x="639317" y="1277112"/>
                  </a:lnTo>
                  <a:lnTo>
                    <a:pt x="591608" y="1275360"/>
                  </a:lnTo>
                  <a:lnTo>
                    <a:pt x="544850" y="1270188"/>
                  </a:lnTo>
                  <a:lnTo>
                    <a:pt x="499167" y="1261719"/>
                  </a:lnTo>
                  <a:lnTo>
                    <a:pt x="454683" y="1250077"/>
                  </a:lnTo>
                  <a:lnTo>
                    <a:pt x="411523" y="1235384"/>
                  </a:lnTo>
                  <a:lnTo>
                    <a:pt x="369808" y="1217765"/>
                  </a:lnTo>
                  <a:lnTo>
                    <a:pt x="329664" y="1197342"/>
                  </a:lnTo>
                  <a:lnTo>
                    <a:pt x="291213" y="1174240"/>
                  </a:lnTo>
                  <a:lnTo>
                    <a:pt x="254580" y="1148581"/>
                  </a:lnTo>
                  <a:lnTo>
                    <a:pt x="219888" y="1120489"/>
                  </a:lnTo>
                  <a:lnTo>
                    <a:pt x="187261" y="1090088"/>
                  </a:lnTo>
                  <a:lnTo>
                    <a:pt x="156822" y="1057501"/>
                  </a:lnTo>
                  <a:lnTo>
                    <a:pt x="128695" y="1022851"/>
                  </a:lnTo>
                  <a:lnTo>
                    <a:pt x="103004" y="986262"/>
                  </a:lnTo>
                  <a:lnTo>
                    <a:pt x="79872" y="947858"/>
                  </a:lnTo>
                  <a:lnTo>
                    <a:pt x="59423" y="907761"/>
                  </a:lnTo>
                  <a:lnTo>
                    <a:pt x="41781" y="866095"/>
                  </a:lnTo>
                  <a:lnTo>
                    <a:pt x="27070" y="822984"/>
                  </a:lnTo>
                  <a:lnTo>
                    <a:pt x="15412" y="778551"/>
                  </a:lnTo>
                  <a:lnTo>
                    <a:pt x="6932" y="732920"/>
                  </a:lnTo>
                  <a:lnTo>
                    <a:pt x="1753" y="686213"/>
                  </a:lnTo>
                  <a:lnTo>
                    <a:pt x="0" y="638555"/>
                  </a:lnTo>
                  <a:lnTo>
                    <a:pt x="2217" y="585401"/>
                  </a:lnTo>
                  <a:lnTo>
                    <a:pt x="8812" y="532886"/>
                  </a:lnTo>
                  <a:lnTo>
                    <a:pt x="19696" y="481266"/>
                  </a:lnTo>
                  <a:lnTo>
                    <a:pt x="34782" y="430799"/>
                  </a:lnTo>
                  <a:lnTo>
                    <a:pt x="53981" y="381744"/>
                  </a:lnTo>
                  <a:lnTo>
                    <a:pt x="77206" y="334357"/>
                  </a:lnTo>
                  <a:lnTo>
                    <a:pt x="104368" y="288895"/>
                  </a:lnTo>
                  <a:lnTo>
                    <a:pt x="135382" y="245617"/>
                  </a:lnTo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56" name="object 19">
              <a:extLst>
                <a:ext uri="{FF2B5EF4-FFF2-40B4-BE49-F238E27FC236}">
                  <a16:creationId xmlns:a16="http://schemas.microsoft.com/office/drawing/2014/main" id="{74FC72E0-763F-475B-885C-2CC6968DC99B}"/>
                </a:ext>
              </a:extLst>
            </p:cNvPr>
            <p:cNvSpPr/>
            <p:nvPr/>
          </p:nvSpPr>
          <p:spPr>
            <a:xfrm>
              <a:off x="4111752" y="1822704"/>
              <a:ext cx="772795" cy="1082675"/>
            </a:xfrm>
            <a:custGeom>
              <a:avLst/>
              <a:gdLst/>
              <a:ahLst/>
              <a:cxnLst/>
              <a:rect l="l" t="t" r="r" b="b"/>
              <a:pathLst>
                <a:path w="772795" h="1082675">
                  <a:moveTo>
                    <a:pt x="0" y="0"/>
                  </a:moveTo>
                  <a:lnTo>
                    <a:pt x="48863" y="1521"/>
                  </a:lnTo>
                  <a:lnTo>
                    <a:pt x="96919" y="6026"/>
                  </a:lnTo>
                  <a:lnTo>
                    <a:pt x="144077" y="13424"/>
                  </a:lnTo>
                  <a:lnTo>
                    <a:pt x="190246" y="23624"/>
                  </a:lnTo>
                  <a:lnTo>
                    <a:pt x="235337" y="36535"/>
                  </a:lnTo>
                  <a:lnTo>
                    <a:pt x="279258" y="52067"/>
                  </a:lnTo>
                  <a:lnTo>
                    <a:pt x="321919" y="70128"/>
                  </a:lnTo>
                  <a:lnTo>
                    <a:pt x="363229" y="90629"/>
                  </a:lnTo>
                  <a:lnTo>
                    <a:pt x="403098" y="113479"/>
                  </a:lnTo>
                  <a:lnTo>
                    <a:pt x="441436" y="138587"/>
                  </a:lnTo>
                  <a:lnTo>
                    <a:pt x="478151" y="165862"/>
                  </a:lnTo>
                  <a:lnTo>
                    <a:pt x="513154" y="195214"/>
                  </a:lnTo>
                  <a:lnTo>
                    <a:pt x="546354" y="226552"/>
                  </a:lnTo>
                  <a:lnTo>
                    <a:pt x="577659" y="259785"/>
                  </a:lnTo>
                  <a:lnTo>
                    <a:pt x="606981" y="294823"/>
                  </a:lnTo>
                  <a:lnTo>
                    <a:pt x="634228" y="331575"/>
                  </a:lnTo>
                  <a:lnTo>
                    <a:pt x="659309" y="369951"/>
                  </a:lnTo>
                  <a:lnTo>
                    <a:pt x="682135" y="409859"/>
                  </a:lnTo>
                  <a:lnTo>
                    <a:pt x="702614" y="451210"/>
                  </a:lnTo>
                  <a:lnTo>
                    <a:pt x="720657" y="493912"/>
                  </a:lnTo>
                  <a:lnTo>
                    <a:pt x="736172" y="537875"/>
                  </a:lnTo>
                  <a:lnTo>
                    <a:pt x="749069" y="583008"/>
                  </a:lnTo>
                  <a:lnTo>
                    <a:pt x="759257" y="629221"/>
                  </a:lnTo>
                  <a:lnTo>
                    <a:pt x="766647" y="676422"/>
                  </a:lnTo>
                  <a:lnTo>
                    <a:pt x="771147" y="724522"/>
                  </a:lnTo>
                  <a:lnTo>
                    <a:pt x="772668" y="773430"/>
                  </a:lnTo>
                  <a:lnTo>
                    <a:pt x="770853" y="826453"/>
                  </a:lnTo>
                  <a:lnTo>
                    <a:pt x="765433" y="879103"/>
                  </a:lnTo>
                  <a:lnTo>
                    <a:pt x="756443" y="931195"/>
                  </a:lnTo>
                  <a:lnTo>
                    <a:pt x="743918" y="982547"/>
                  </a:lnTo>
                  <a:lnTo>
                    <a:pt x="727894" y="1032974"/>
                  </a:lnTo>
                  <a:lnTo>
                    <a:pt x="708406" y="1082294"/>
                  </a:lnTo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57" name="object 40">
              <a:extLst>
                <a:ext uri="{FF2B5EF4-FFF2-40B4-BE49-F238E27FC236}">
                  <a16:creationId xmlns:a16="http://schemas.microsoft.com/office/drawing/2014/main" id="{59F3CD5D-48A2-416D-9DE0-95DCB69415F1}"/>
                </a:ext>
              </a:extLst>
            </p:cNvPr>
            <p:cNvSpPr/>
            <p:nvPr/>
          </p:nvSpPr>
          <p:spPr>
            <a:xfrm>
              <a:off x="3547109" y="2032254"/>
              <a:ext cx="1130935" cy="1130935"/>
            </a:xfrm>
            <a:custGeom>
              <a:avLst/>
              <a:gdLst/>
              <a:ahLst/>
              <a:cxnLst/>
              <a:rect l="l" t="t" r="r" b="b"/>
              <a:pathLst>
                <a:path w="1130935" h="1130935">
                  <a:moveTo>
                    <a:pt x="565403" y="0"/>
                  </a:moveTo>
                  <a:lnTo>
                    <a:pt x="516614" y="2075"/>
                  </a:lnTo>
                  <a:lnTo>
                    <a:pt x="468978" y="8187"/>
                  </a:lnTo>
                  <a:lnTo>
                    <a:pt x="422665" y="18167"/>
                  </a:lnTo>
                  <a:lnTo>
                    <a:pt x="377844" y="31845"/>
                  </a:lnTo>
                  <a:lnTo>
                    <a:pt x="334686" y="49051"/>
                  </a:lnTo>
                  <a:lnTo>
                    <a:pt x="293360" y="69615"/>
                  </a:lnTo>
                  <a:lnTo>
                    <a:pt x="254034" y="93369"/>
                  </a:lnTo>
                  <a:lnTo>
                    <a:pt x="216881" y="120142"/>
                  </a:lnTo>
                  <a:lnTo>
                    <a:pt x="182067" y="149765"/>
                  </a:lnTo>
                  <a:lnTo>
                    <a:pt x="149765" y="182067"/>
                  </a:lnTo>
                  <a:lnTo>
                    <a:pt x="120142" y="216881"/>
                  </a:lnTo>
                  <a:lnTo>
                    <a:pt x="93369" y="254034"/>
                  </a:lnTo>
                  <a:lnTo>
                    <a:pt x="69615" y="293360"/>
                  </a:lnTo>
                  <a:lnTo>
                    <a:pt x="49051" y="334686"/>
                  </a:lnTo>
                  <a:lnTo>
                    <a:pt x="31845" y="377844"/>
                  </a:lnTo>
                  <a:lnTo>
                    <a:pt x="18167" y="422665"/>
                  </a:lnTo>
                  <a:lnTo>
                    <a:pt x="8187" y="468978"/>
                  </a:lnTo>
                  <a:lnTo>
                    <a:pt x="2075" y="516614"/>
                  </a:lnTo>
                  <a:lnTo>
                    <a:pt x="0" y="565404"/>
                  </a:lnTo>
                  <a:lnTo>
                    <a:pt x="2075" y="614193"/>
                  </a:lnTo>
                  <a:lnTo>
                    <a:pt x="8187" y="661829"/>
                  </a:lnTo>
                  <a:lnTo>
                    <a:pt x="18167" y="708142"/>
                  </a:lnTo>
                  <a:lnTo>
                    <a:pt x="31845" y="752963"/>
                  </a:lnTo>
                  <a:lnTo>
                    <a:pt x="49051" y="796121"/>
                  </a:lnTo>
                  <a:lnTo>
                    <a:pt x="69615" y="837447"/>
                  </a:lnTo>
                  <a:lnTo>
                    <a:pt x="93369" y="876773"/>
                  </a:lnTo>
                  <a:lnTo>
                    <a:pt x="120142" y="913926"/>
                  </a:lnTo>
                  <a:lnTo>
                    <a:pt x="149765" y="948740"/>
                  </a:lnTo>
                  <a:lnTo>
                    <a:pt x="182067" y="981042"/>
                  </a:lnTo>
                  <a:lnTo>
                    <a:pt x="216881" y="1010665"/>
                  </a:lnTo>
                  <a:lnTo>
                    <a:pt x="254034" y="1037438"/>
                  </a:lnTo>
                  <a:lnTo>
                    <a:pt x="293360" y="1061192"/>
                  </a:lnTo>
                  <a:lnTo>
                    <a:pt x="334686" y="1081756"/>
                  </a:lnTo>
                  <a:lnTo>
                    <a:pt x="377844" y="1098962"/>
                  </a:lnTo>
                  <a:lnTo>
                    <a:pt x="422665" y="1112640"/>
                  </a:lnTo>
                  <a:lnTo>
                    <a:pt x="468978" y="1122620"/>
                  </a:lnTo>
                  <a:lnTo>
                    <a:pt x="516614" y="1128732"/>
                  </a:lnTo>
                  <a:lnTo>
                    <a:pt x="565403" y="1130808"/>
                  </a:lnTo>
                  <a:lnTo>
                    <a:pt x="614193" y="1128732"/>
                  </a:lnTo>
                  <a:lnTo>
                    <a:pt x="661829" y="1122620"/>
                  </a:lnTo>
                  <a:lnTo>
                    <a:pt x="708142" y="1112640"/>
                  </a:lnTo>
                  <a:lnTo>
                    <a:pt x="752963" y="1098962"/>
                  </a:lnTo>
                  <a:lnTo>
                    <a:pt x="796121" y="1081756"/>
                  </a:lnTo>
                  <a:lnTo>
                    <a:pt x="837447" y="1061192"/>
                  </a:lnTo>
                  <a:lnTo>
                    <a:pt x="876773" y="1037438"/>
                  </a:lnTo>
                  <a:lnTo>
                    <a:pt x="913926" y="1010665"/>
                  </a:lnTo>
                  <a:lnTo>
                    <a:pt x="948740" y="981042"/>
                  </a:lnTo>
                  <a:lnTo>
                    <a:pt x="981042" y="948740"/>
                  </a:lnTo>
                  <a:lnTo>
                    <a:pt x="1010665" y="913926"/>
                  </a:lnTo>
                  <a:lnTo>
                    <a:pt x="1037438" y="876773"/>
                  </a:lnTo>
                  <a:lnTo>
                    <a:pt x="1061192" y="837447"/>
                  </a:lnTo>
                  <a:lnTo>
                    <a:pt x="1081756" y="796121"/>
                  </a:lnTo>
                  <a:lnTo>
                    <a:pt x="1098962" y="752963"/>
                  </a:lnTo>
                  <a:lnTo>
                    <a:pt x="1112640" y="708142"/>
                  </a:lnTo>
                  <a:lnTo>
                    <a:pt x="1122620" y="661829"/>
                  </a:lnTo>
                  <a:lnTo>
                    <a:pt x="1128732" y="614193"/>
                  </a:lnTo>
                  <a:lnTo>
                    <a:pt x="1130807" y="565404"/>
                  </a:lnTo>
                  <a:lnTo>
                    <a:pt x="1128732" y="516614"/>
                  </a:lnTo>
                  <a:lnTo>
                    <a:pt x="1122620" y="468978"/>
                  </a:lnTo>
                  <a:lnTo>
                    <a:pt x="1112640" y="422665"/>
                  </a:lnTo>
                  <a:lnTo>
                    <a:pt x="1098962" y="377844"/>
                  </a:lnTo>
                  <a:lnTo>
                    <a:pt x="1081756" y="334686"/>
                  </a:lnTo>
                  <a:lnTo>
                    <a:pt x="1061192" y="293360"/>
                  </a:lnTo>
                  <a:lnTo>
                    <a:pt x="1037438" y="254034"/>
                  </a:lnTo>
                  <a:lnTo>
                    <a:pt x="1010665" y="216881"/>
                  </a:lnTo>
                  <a:lnTo>
                    <a:pt x="981042" y="182067"/>
                  </a:lnTo>
                  <a:lnTo>
                    <a:pt x="948740" y="149765"/>
                  </a:lnTo>
                  <a:lnTo>
                    <a:pt x="913926" y="120142"/>
                  </a:lnTo>
                  <a:lnTo>
                    <a:pt x="876773" y="93369"/>
                  </a:lnTo>
                  <a:lnTo>
                    <a:pt x="837447" y="69615"/>
                  </a:lnTo>
                  <a:lnTo>
                    <a:pt x="796121" y="49051"/>
                  </a:lnTo>
                  <a:lnTo>
                    <a:pt x="752963" y="31845"/>
                  </a:lnTo>
                  <a:lnTo>
                    <a:pt x="708142" y="18167"/>
                  </a:lnTo>
                  <a:lnTo>
                    <a:pt x="661829" y="8187"/>
                  </a:lnTo>
                  <a:lnTo>
                    <a:pt x="614193" y="2075"/>
                  </a:lnTo>
                  <a:lnTo>
                    <a:pt x="565403" y="0"/>
                  </a:lnTo>
                  <a:close/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58" name="object 41">
              <a:extLst>
                <a:ext uri="{FF2B5EF4-FFF2-40B4-BE49-F238E27FC236}">
                  <a16:creationId xmlns:a16="http://schemas.microsoft.com/office/drawing/2014/main" id="{142C507C-25CB-4109-807F-DF71A3DB67AD}"/>
                </a:ext>
              </a:extLst>
            </p:cNvPr>
            <p:cNvSpPr/>
            <p:nvPr/>
          </p:nvSpPr>
          <p:spPr>
            <a:xfrm>
              <a:off x="3547109" y="2032254"/>
              <a:ext cx="1130935" cy="1130935"/>
            </a:xfrm>
            <a:custGeom>
              <a:avLst/>
              <a:gdLst/>
              <a:ahLst/>
              <a:cxnLst/>
              <a:rect l="l" t="t" r="r" b="b"/>
              <a:pathLst>
                <a:path w="1130935" h="1130935">
                  <a:moveTo>
                    <a:pt x="0" y="565404"/>
                  </a:moveTo>
                  <a:lnTo>
                    <a:pt x="2075" y="516614"/>
                  </a:lnTo>
                  <a:lnTo>
                    <a:pt x="8187" y="468978"/>
                  </a:lnTo>
                  <a:lnTo>
                    <a:pt x="18167" y="422665"/>
                  </a:lnTo>
                  <a:lnTo>
                    <a:pt x="31845" y="377844"/>
                  </a:lnTo>
                  <a:lnTo>
                    <a:pt x="49051" y="334686"/>
                  </a:lnTo>
                  <a:lnTo>
                    <a:pt x="69615" y="293360"/>
                  </a:lnTo>
                  <a:lnTo>
                    <a:pt x="93369" y="254034"/>
                  </a:lnTo>
                  <a:lnTo>
                    <a:pt x="120142" y="216881"/>
                  </a:lnTo>
                  <a:lnTo>
                    <a:pt x="149765" y="182067"/>
                  </a:lnTo>
                  <a:lnTo>
                    <a:pt x="182067" y="149765"/>
                  </a:lnTo>
                  <a:lnTo>
                    <a:pt x="216881" y="120142"/>
                  </a:lnTo>
                  <a:lnTo>
                    <a:pt x="254034" y="93369"/>
                  </a:lnTo>
                  <a:lnTo>
                    <a:pt x="293360" y="69615"/>
                  </a:lnTo>
                  <a:lnTo>
                    <a:pt x="334686" y="49051"/>
                  </a:lnTo>
                  <a:lnTo>
                    <a:pt x="377844" y="31845"/>
                  </a:lnTo>
                  <a:lnTo>
                    <a:pt x="422665" y="18167"/>
                  </a:lnTo>
                  <a:lnTo>
                    <a:pt x="468978" y="8187"/>
                  </a:lnTo>
                  <a:lnTo>
                    <a:pt x="516614" y="2075"/>
                  </a:lnTo>
                  <a:lnTo>
                    <a:pt x="565403" y="0"/>
                  </a:lnTo>
                  <a:lnTo>
                    <a:pt x="614193" y="2075"/>
                  </a:lnTo>
                  <a:lnTo>
                    <a:pt x="661829" y="8187"/>
                  </a:lnTo>
                  <a:lnTo>
                    <a:pt x="708142" y="18167"/>
                  </a:lnTo>
                  <a:lnTo>
                    <a:pt x="752963" y="31845"/>
                  </a:lnTo>
                  <a:lnTo>
                    <a:pt x="796121" y="49051"/>
                  </a:lnTo>
                  <a:lnTo>
                    <a:pt x="837447" y="69615"/>
                  </a:lnTo>
                  <a:lnTo>
                    <a:pt x="876773" y="93369"/>
                  </a:lnTo>
                  <a:lnTo>
                    <a:pt x="913926" y="120142"/>
                  </a:lnTo>
                  <a:lnTo>
                    <a:pt x="948740" y="149765"/>
                  </a:lnTo>
                  <a:lnTo>
                    <a:pt x="981042" y="182067"/>
                  </a:lnTo>
                  <a:lnTo>
                    <a:pt x="1010665" y="216881"/>
                  </a:lnTo>
                  <a:lnTo>
                    <a:pt x="1037438" y="254034"/>
                  </a:lnTo>
                  <a:lnTo>
                    <a:pt x="1061192" y="293360"/>
                  </a:lnTo>
                  <a:lnTo>
                    <a:pt x="1081756" y="334686"/>
                  </a:lnTo>
                  <a:lnTo>
                    <a:pt x="1098962" y="377844"/>
                  </a:lnTo>
                  <a:lnTo>
                    <a:pt x="1112640" y="422665"/>
                  </a:lnTo>
                  <a:lnTo>
                    <a:pt x="1122620" y="468978"/>
                  </a:lnTo>
                  <a:lnTo>
                    <a:pt x="1128732" y="516614"/>
                  </a:lnTo>
                  <a:lnTo>
                    <a:pt x="1130807" y="565404"/>
                  </a:lnTo>
                  <a:lnTo>
                    <a:pt x="1128732" y="614193"/>
                  </a:lnTo>
                  <a:lnTo>
                    <a:pt x="1122620" y="661829"/>
                  </a:lnTo>
                  <a:lnTo>
                    <a:pt x="1112640" y="708142"/>
                  </a:lnTo>
                  <a:lnTo>
                    <a:pt x="1098962" y="752963"/>
                  </a:lnTo>
                  <a:lnTo>
                    <a:pt x="1081756" y="796121"/>
                  </a:lnTo>
                  <a:lnTo>
                    <a:pt x="1061192" y="837447"/>
                  </a:lnTo>
                  <a:lnTo>
                    <a:pt x="1037438" y="876773"/>
                  </a:lnTo>
                  <a:lnTo>
                    <a:pt x="1010665" y="913926"/>
                  </a:lnTo>
                  <a:lnTo>
                    <a:pt x="981042" y="948740"/>
                  </a:lnTo>
                  <a:lnTo>
                    <a:pt x="948740" y="981042"/>
                  </a:lnTo>
                  <a:lnTo>
                    <a:pt x="913926" y="1010665"/>
                  </a:lnTo>
                  <a:lnTo>
                    <a:pt x="876773" y="1037438"/>
                  </a:lnTo>
                  <a:lnTo>
                    <a:pt x="837447" y="1061192"/>
                  </a:lnTo>
                  <a:lnTo>
                    <a:pt x="796121" y="1081756"/>
                  </a:lnTo>
                  <a:lnTo>
                    <a:pt x="752963" y="1098962"/>
                  </a:lnTo>
                  <a:lnTo>
                    <a:pt x="708142" y="1112640"/>
                  </a:lnTo>
                  <a:lnTo>
                    <a:pt x="661829" y="1122620"/>
                  </a:lnTo>
                  <a:lnTo>
                    <a:pt x="614193" y="1128732"/>
                  </a:lnTo>
                  <a:lnTo>
                    <a:pt x="565403" y="1130808"/>
                  </a:lnTo>
                  <a:lnTo>
                    <a:pt x="516614" y="1128732"/>
                  </a:lnTo>
                  <a:lnTo>
                    <a:pt x="468978" y="1122620"/>
                  </a:lnTo>
                  <a:lnTo>
                    <a:pt x="422665" y="1112640"/>
                  </a:lnTo>
                  <a:lnTo>
                    <a:pt x="377844" y="1098962"/>
                  </a:lnTo>
                  <a:lnTo>
                    <a:pt x="334686" y="1081756"/>
                  </a:lnTo>
                  <a:lnTo>
                    <a:pt x="293360" y="1061192"/>
                  </a:lnTo>
                  <a:lnTo>
                    <a:pt x="254034" y="1037438"/>
                  </a:lnTo>
                  <a:lnTo>
                    <a:pt x="216881" y="1010665"/>
                  </a:lnTo>
                  <a:lnTo>
                    <a:pt x="182067" y="981042"/>
                  </a:lnTo>
                  <a:lnTo>
                    <a:pt x="149765" y="948740"/>
                  </a:lnTo>
                  <a:lnTo>
                    <a:pt x="120142" y="913926"/>
                  </a:lnTo>
                  <a:lnTo>
                    <a:pt x="93369" y="876773"/>
                  </a:lnTo>
                  <a:lnTo>
                    <a:pt x="69615" y="837447"/>
                  </a:lnTo>
                  <a:lnTo>
                    <a:pt x="49051" y="796121"/>
                  </a:lnTo>
                  <a:lnTo>
                    <a:pt x="31845" y="752963"/>
                  </a:lnTo>
                  <a:lnTo>
                    <a:pt x="18167" y="708142"/>
                  </a:lnTo>
                  <a:lnTo>
                    <a:pt x="8187" y="661829"/>
                  </a:lnTo>
                  <a:lnTo>
                    <a:pt x="2075" y="614193"/>
                  </a:lnTo>
                  <a:lnTo>
                    <a:pt x="0" y="565404"/>
                  </a:lnTo>
                  <a:close/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35" name="object 69">
            <a:extLst>
              <a:ext uri="{FF2B5EF4-FFF2-40B4-BE49-F238E27FC236}">
                <a16:creationId xmlns:a16="http://schemas.microsoft.com/office/drawing/2014/main" id="{BD592B38-5313-4DC1-9F71-923A378A81C2}"/>
              </a:ext>
            </a:extLst>
          </p:cNvPr>
          <p:cNvSpPr/>
          <p:nvPr/>
        </p:nvSpPr>
        <p:spPr>
          <a:xfrm flipH="1">
            <a:off x="5313766" y="3656028"/>
            <a:ext cx="451180" cy="356436"/>
          </a:xfrm>
          <a:prstGeom prst="rect">
            <a:avLst/>
          </a:prstGeom>
          <a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36" name="object 74">
            <a:extLst>
              <a:ext uri="{FF2B5EF4-FFF2-40B4-BE49-F238E27FC236}">
                <a16:creationId xmlns:a16="http://schemas.microsoft.com/office/drawing/2014/main" id="{D25D4D2A-1104-4A77-B9CF-24FC5A081999}"/>
              </a:ext>
            </a:extLst>
          </p:cNvPr>
          <p:cNvSpPr/>
          <p:nvPr/>
        </p:nvSpPr>
        <p:spPr>
          <a:xfrm>
            <a:off x="5746999" y="3707888"/>
            <a:ext cx="182042" cy="204949"/>
          </a:xfrm>
          <a:prstGeom prst="rect">
            <a:avLst/>
          </a:prstGeom>
          <a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37" name="object 74">
            <a:extLst>
              <a:ext uri="{FF2B5EF4-FFF2-40B4-BE49-F238E27FC236}">
                <a16:creationId xmlns:a16="http://schemas.microsoft.com/office/drawing/2014/main" id="{F2793948-3991-4FE8-97B6-94A7AA4CF033}"/>
              </a:ext>
            </a:extLst>
          </p:cNvPr>
          <p:cNvSpPr/>
          <p:nvPr/>
        </p:nvSpPr>
        <p:spPr>
          <a:xfrm>
            <a:off x="5885009" y="3749488"/>
            <a:ext cx="182042" cy="204949"/>
          </a:xfrm>
          <a:prstGeom prst="rect">
            <a:avLst/>
          </a:prstGeom>
          <a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38" name="object 74">
            <a:extLst>
              <a:ext uri="{FF2B5EF4-FFF2-40B4-BE49-F238E27FC236}">
                <a16:creationId xmlns:a16="http://schemas.microsoft.com/office/drawing/2014/main" id="{1BA81406-C0A7-4C19-8A2F-6C5C708D7D52}"/>
              </a:ext>
            </a:extLst>
          </p:cNvPr>
          <p:cNvSpPr/>
          <p:nvPr/>
        </p:nvSpPr>
        <p:spPr>
          <a:xfrm>
            <a:off x="5755336" y="3825118"/>
            <a:ext cx="182042" cy="204949"/>
          </a:xfrm>
          <a:prstGeom prst="rect">
            <a:avLst/>
          </a:prstGeom>
          <a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8EA1352C-4C7C-43E3-A981-8244758C8778}"/>
              </a:ext>
            </a:extLst>
          </p:cNvPr>
          <p:cNvSpPr txBox="1"/>
          <p:nvPr/>
        </p:nvSpPr>
        <p:spPr>
          <a:xfrm>
            <a:off x="5299888" y="3417352"/>
            <a:ext cx="878045" cy="184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 err="1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Leverandør</a:t>
            </a: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5C5C5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14458E5C-C0A2-4B42-92C1-A3BA1CEACA4A}"/>
              </a:ext>
            </a:extLst>
          </p:cNvPr>
          <p:cNvGrpSpPr/>
          <p:nvPr/>
        </p:nvGrpSpPr>
        <p:grpSpPr>
          <a:xfrm>
            <a:off x="7250315" y="1521875"/>
            <a:ext cx="1135897" cy="1187442"/>
            <a:chOff x="3467100" y="1822704"/>
            <a:chExt cx="1417447" cy="1481455"/>
          </a:xfrm>
        </p:grpSpPr>
        <p:sp>
          <p:nvSpPr>
            <p:cNvPr id="49" name="object 17">
              <a:extLst>
                <a:ext uri="{FF2B5EF4-FFF2-40B4-BE49-F238E27FC236}">
                  <a16:creationId xmlns:a16="http://schemas.microsoft.com/office/drawing/2014/main" id="{65B23D8B-79FA-4A6C-8F64-3687403E7966}"/>
                </a:ext>
              </a:extLst>
            </p:cNvPr>
            <p:cNvSpPr/>
            <p:nvPr/>
          </p:nvSpPr>
          <p:spPr>
            <a:xfrm>
              <a:off x="3550284" y="1898904"/>
              <a:ext cx="1259840" cy="1405255"/>
            </a:xfrm>
            <a:custGeom>
              <a:avLst/>
              <a:gdLst/>
              <a:ahLst/>
              <a:cxnLst/>
              <a:rect l="l" t="t" r="r" b="b"/>
              <a:pathLst>
                <a:path w="1259839" h="1405254">
                  <a:moveTo>
                    <a:pt x="556132" y="0"/>
                  </a:moveTo>
                  <a:lnTo>
                    <a:pt x="604293" y="1620"/>
                  </a:lnTo>
                  <a:lnTo>
                    <a:pt x="651582" y="6414"/>
                  </a:lnTo>
                  <a:lnTo>
                    <a:pt x="697894" y="14274"/>
                  </a:lnTo>
                  <a:lnTo>
                    <a:pt x="743124" y="25098"/>
                  </a:lnTo>
                  <a:lnTo>
                    <a:pt x="787169" y="38780"/>
                  </a:lnTo>
                  <a:lnTo>
                    <a:pt x="829923" y="55215"/>
                  </a:lnTo>
                  <a:lnTo>
                    <a:pt x="871281" y="74299"/>
                  </a:lnTo>
                  <a:lnTo>
                    <a:pt x="911140" y="95927"/>
                  </a:lnTo>
                  <a:lnTo>
                    <a:pt x="949394" y="119994"/>
                  </a:lnTo>
                  <a:lnTo>
                    <a:pt x="985938" y="146397"/>
                  </a:lnTo>
                  <a:lnTo>
                    <a:pt x="1020669" y="175029"/>
                  </a:lnTo>
                  <a:lnTo>
                    <a:pt x="1053480" y="205787"/>
                  </a:lnTo>
                  <a:lnTo>
                    <a:pt x="1084269" y="238566"/>
                  </a:lnTo>
                  <a:lnTo>
                    <a:pt x="1112929" y="273261"/>
                  </a:lnTo>
                  <a:lnTo>
                    <a:pt x="1139356" y="309767"/>
                  </a:lnTo>
                  <a:lnTo>
                    <a:pt x="1163447" y="347980"/>
                  </a:lnTo>
                  <a:lnTo>
                    <a:pt x="1185094" y="387794"/>
                  </a:lnTo>
                  <a:lnTo>
                    <a:pt x="1204196" y="429107"/>
                  </a:lnTo>
                  <a:lnTo>
                    <a:pt x="1220645" y="471812"/>
                  </a:lnTo>
                  <a:lnTo>
                    <a:pt x="1234339" y="515805"/>
                  </a:lnTo>
                  <a:lnTo>
                    <a:pt x="1245172" y="560981"/>
                  </a:lnTo>
                  <a:lnTo>
                    <a:pt x="1253039" y="607236"/>
                  </a:lnTo>
                  <a:lnTo>
                    <a:pt x="1257836" y="654465"/>
                  </a:lnTo>
                  <a:lnTo>
                    <a:pt x="1259459" y="702563"/>
                  </a:lnTo>
                  <a:lnTo>
                    <a:pt x="1257836" y="750662"/>
                  </a:lnTo>
                  <a:lnTo>
                    <a:pt x="1253039" y="797891"/>
                  </a:lnTo>
                  <a:lnTo>
                    <a:pt x="1245172" y="844146"/>
                  </a:lnTo>
                  <a:lnTo>
                    <a:pt x="1234339" y="889322"/>
                  </a:lnTo>
                  <a:lnTo>
                    <a:pt x="1220645" y="933315"/>
                  </a:lnTo>
                  <a:lnTo>
                    <a:pt x="1204196" y="976020"/>
                  </a:lnTo>
                  <a:lnTo>
                    <a:pt x="1185094" y="1017333"/>
                  </a:lnTo>
                  <a:lnTo>
                    <a:pt x="1163447" y="1057147"/>
                  </a:lnTo>
                  <a:lnTo>
                    <a:pt x="1139356" y="1095360"/>
                  </a:lnTo>
                  <a:lnTo>
                    <a:pt x="1112929" y="1131866"/>
                  </a:lnTo>
                  <a:lnTo>
                    <a:pt x="1084269" y="1166561"/>
                  </a:lnTo>
                  <a:lnTo>
                    <a:pt x="1053480" y="1199340"/>
                  </a:lnTo>
                  <a:lnTo>
                    <a:pt x="1020669" y="1230098"/>
                  </a:lnTo>
                  <a:lnTo>
                    <a:pt x="985938" y="1258730"/>
                  </a:lnTo>
                  <a:lnTo>
                    <a:pt x="949394" y="1285133"/>
                  </a:lnTo>
                  <a:lnTo>
                    <a:pt x="911140" y="1309200"/>
                  </a:lnTo>
                  <a:lnTo>
                    <a:pt x="871281" y="1330828"/>
                  </a:lnTo>
                  <a:lnTo>
                    <a:pt x="829923" y="1349912"/>
                  </a:lnTo>
                  <a:lnTo>
                    <a:pt x="787169" y="1366347"/>
                  </a:lnTo>
                  <a:lnTo>
                    <a:pt x="743124" y="1380029"/>
                  </a:lnTo>
                  <a:lnTo>
                    <a:pt x="697894" y="1390853"/>
                  </a:lnTo>
                  <a:lnTo>
                    <a:pt x="651582" y="1398713"/>
                  </a:lnTo>
                  <a:lnTo>
                    <a:pt x="604293" y="1403507"/>
                  </a:lnTo>
                  <a:lnTo>
                    <a:pt x="556132" y="1405128"/>
                  </a:lnTo>
                  <a:lnTo>
                    <a:pt x="506172" y="1403355"/>
                  </a:lnTo>
                  <a:lnTo>
                    <a:pt x="456808" y="1398092"/>
                  </a:lnTo>
                  <a:lnTo>
                    <a:pt x="408205" y="1389418"/>
                  </a:lnTo>
                  <a:lnTo>
                    <a:pt x="360525" y="1377414"/>
                  </a:lnTo>
                  <a:lnTo>
                    <a:pt x="313933" y="1362159"/>
                  </a:lnTo>
                  <a:lnTo>
                    <a:pt x="268593" y="1343733"/>
                  </a:lnTo>
                  <a:lnTo>
                    <a:pt x="224667" y="1322217"/>
                  </a:lnTo>
                  <a:lnTo>
                    <a:pt x="182321" y="1297691"/>
                  </a:lnTo>
                  <a:lnTo>
                    <a:pt x="141717" y="1270235"/>
                  </a:lnTo>
                  <a:lnTo>
                    <a:pt x="103019" y="1239929"/>
                  </a:lnTo>
                  <a:lnTo>
                    <a:pt x="66391" y="1206853"/>
                  </a:lnTo>
                  <a:lnTo>
                    <a:pt x="31997" y="1171088"/>
                  </a:lnTo>
                  <a:lnTo>
                    <a:pt x="0" y="1132713"/>
                  </a:lnTo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50" name="object 18">
              <a:extLst>
                <a:ext uri="{FF2B5EF4-FFF2-40B4-BE49-F238E27FC236}">
                  <a16:creationId xmlns:a16="http://schemas.microsoft.com/office/drawing/2014/main" id="{23B572A4-7DCB-4EDC-8F47-5E10B70D2F11}"/>
                </a:ext>
              </a:extLst>
            </p:cNvPr>
            <p:cNvSpPr/>
            <p:nvPr/>
          </p:nvSpPr>
          <p:spPr>
            <a:xfrm>
              <a:off x="3467100" y="1962911"/>
              <a:ext cx="1278890" cy="1277620"/>
            </a:xfrm>
            <a:custGeom>
              <a:avLst/>
              <a:gdLst/>
              <a:ahLst/>
              <a:cxnLst/>
              <a:rect l="l" t="t" r="r" b="b"/>
              <a:pathLst>
                <a:path w="1278889" h="1277620">
                  <a:moveTo>
                    <a:pt x="639317" y="0"/>
                  </a:moveTo>
                  <a:lnTo>
                    <a:pt x="687027" y="1751"/>
                  </a:lnTo>
                  <a:lnTo>
                    <a:pt x="733785" y="6923"/>
                  </a:lnTo>
                  <a:lnTo>
                    <a:pt x="779468" y="15392"/>
                  </a:lnTo>
                  <a:lnTo>
                    <a:pt x="823952" y="27034"/>
                  </a:lnTo>
                  <a:lnTo>
                    <a:pt x="867112" y="41727"/>
                  </a:lnTo>
                  <a:lnTo>
                    <a:pt x="908827" y="59346"/>
                  </a:lnTo>
                  <a:lnTo>
                    <a:pt x="948971" y="79769"/>
                  </a:lnTo>
                  <a:lnTo>
                    <a:pt x="987422" y="102871"/>
                  </a:lnTo>
                  <a:lnTo>
                    <a:pt x="1024055" y="128530"/>
                  </a:lnTo>
                  <a:lnTo>
                    <a:pt x="1058747" y="156622"/>
                  </a:lnTo>
                  <a:lnTo>
                    <a:pt x="1091374" y="187023"/>
                  </a:lnTo>
                  <a:lnTo>
                    <a:pt x="1121813" y="219610"/>
                  </a:lnTo>
                  <a:lnTo>
                    <a:pt x="1149940" y="254260"/>
                  </a:lnTo>
                  <a:lnTo>
                    <a:pt x="1175631" y="290849"/>
                  </a:lnTo>
                  <a:lnTo>
                    <a:pt x="1198763" y="329253"/>
                  </a:lnTo>
                  <a:lnTo>
                    <a:pt x="1219212" y="369350"/>
                  </a:lnTo>
                  <a:lnTo>
                    <a:pt x="1236854" y="411016"/>
                  </a:lnTo>
                  <a:lnTo>
                    <a:pt x="1251565" y="454127"/>
                  </a:lnTo>
                  <a:lnTo>
                    <a:pt x="1263223" y="498560"/>
                  </a:lnTo>
                  <a:lnTo>
                    <a:pt x="1271703" y="544191"/>
                  </a:lnTo>
                  <a:lnTo>
                    <a:pt x="1276882" y="590898"/>
                  </a:lnTo>
                  <a:lnTo>
                    <a:pt x="1278636" y="638555"/>
                  </a:lnTo>
                  <a:lnTo>
                    <a:pt x="1276882" y="686213"/>
                  </a:lnTo>
                  <a:lnTo>
                    <a:pt x="1271703" y="732920"/>
                  </a:lnTo>
                  <a:lnTo>
                    <a:pt x="1263223" y="778551"/>
                  </a:lnTo>
                  <a:lnTo>
                    <a:pt x="1251565" y="822984"/>
                  </a:lnTo>
                  <a:lnTo>
                    <a:pt x="1236854" y="866095"/>
                  </a:lnTo>
                  <a:lnTo>
                    <a:pt x="1219212" y="907761"/>
                  </a:lnTo>
                  <a:lnTo>
                    <a:pt x="1198763" y="947858"/>
                  </a:lnTo>
                  <a:lnTo>
                    <a:pt x="1175631" y="986262"/>
                  </a:lnTo>
                  <a:lnTo>
                    <a:pt x="1149940" y="1022851"/>
                  </a:lnTo>
                  <a:lnTo>
                    <a:pt x="1121813" y="1057501"/>
                  </a:lnTo>
                  <a:lnTo>
                    <a:pt x="1091374" y="1090088"/>
                  </a:lnTo>
                  <a:lnTo>
                    <a:pt x="1058747" y="1120489"/>
                  </a:lnTo>
                  <a:lnTo>
                    <a:pt x="1024055" y="1148581"/>
                  </a:lnTo>
                  <a:lnTo>
                    <a:pt x="987422" y="1174240"/>
                  </a:lnTo>
                  <a:lnTo>
                    <a:pt x="948971" y="1197342"/>
                  </a:lnTo>
                  <a:lnTo>
                    <a:pt x="908827" y="1217765"/>
                  </a:lnTo>
                  <a:lnTo>
                    <a:pt x="867112" y="1235384"/>
                  </a:lnTo>
                  <a:lnTo>
                    <a:pt x="823952" y="1250077"/>
                  </a:lnTo>
                  <a:lnTo>
                    <a:pt x="779468" y="1261719"/>
                  </a:lnTo>
                  <a:lnTo>
                    <a:pt x="733785" y="1270188"/>
                  </a:lnTo>
                  <a:lnTo>
                    <a:pt x="687027" y="1275360"/>
                  </a:lnTo>
                  <a:lnTo>
                    <a:pt x="639317" y="1277112"/>
                  </a:lnTo>
                  <a:lnTo>
                    <a:pt x="591608" y="1275360"/>
                  </a:lnTo>
                  <a:lnTo>
                    <a:pt x="544850" y="1270188"/>
                  </a:lnTo>
                  <a:lnTo>
                    <a:pt x="499167" y="1261719"/>
                  </a:lnTo>
                  <a:lnTo>
                    <a:pt x="454683" y="1250077"/>
                  </a:lnTo>
                  <a:lnTo>
                    <a:pt x="411523" y="1235384"/>
                  </a:lnTo>
                  <a:lnTo>
                    <a:pt x="369808" y="1217765"/>
                  </a:lnTo>
                  <a:lnTo>
                    <a:pt x="329664" y="1197342"/>
                  </a:lnTo>
                  <a:lnTo>
                    <a:pt x="291213" y="1174240"/>
                  </a:lnTo>
                  <a:lnTo>
                    <a:pt x="254580" y="1148581"/>
                  </a:lnTo>
                  <a:lnTo>
                    <a:pt x="219888" y="1120489"/>
                  </a:lnTo>
                  <a:lnTo>
                    <a:pt x="187261" y="1090088"/>
                  </a:lnTo>
                  <a:lnTo>
                    <a:pt x="156822" y="1057501"/>
                  </a:lnTo>
                  <a:lnTo>
                    <a:pt x="128695" y="1022851"/>
                  </a:lnTo>
                  <a:lnTo>
                    <a:pt x="103004" y="986262"/>
                  </a:lnTo>
                  <a:lnTo>
                    <a:pt x="79872" y="947858"/>
                  </a:lnTo>
                  <a:lnTo>
                    <a:pt x="59423" y="907761"/>
                  </a:lnTo>
                  <a:lnTo>
                    <a:pt x="41781" y="866095"/>
                  </a:lnTo>
                  <a:lnTo>
                    <a:pt x="27070" y="822984"/>
                  </a:lnTo>
                  <a:lnTo>
                    <a:pt x="15412" y="778551"/>
                  </a:lnTo>
                  <a:lnTo>
                    <a:pt x="6932" y="732920"/>
                  </a:lnTo>
                  <a:lnTo>
                    <a:pt x="1753" y="686213"/>
                  </a:lnTo>
                  <a:lnTo>
                    <a:pt x="0" y="638555"/>
                  </a:lnTo>
                  <a:lnTo>
                    <a:pt x="2217" y="585401"/>
                  </a:lnTo>
                  <a:lnTo>
                    <a:pt x="8812" y="532886"/>
                  </a:lnTo>
                  <a:lnTo>
                    <a:pt x="19696" y="481266"/>
                  </a:lnTo>
                  <a:lnTo>
                    <a:pt x="34782" y="430799"/>
                  </a:lnTo>
                  <a:lnTo>
                    <a:pt x="53981" y="381744"/>
                  </a:lnTo>
                  <a:lnTo>
                    <a:pt x="77206" y="334357"/>
                  </a:lnTo>
                  <a:lnTo>
                    <a:pt x="104368" y="288895"/>
                  </a:lnTo>
                  <a:lnTo>
                    <a:pt x="135382" y="245617"/>
                  </a:lnTo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51" name="object 19">
              <a:extLst>
                <a:ext uri="{FF2B5EF4-FFF2-40B4-BE49-F238E27FC236}">
                  <a16:creationId xmlns:a16="http://schemas.microsoft.com/office/drawing/2014/main" id="{1C32FC2F-0FD7-4B18-BBA7-AE526708D939}"/>
                </a:ext>
              </a:extLst>
            </p:cNvPr>
            <p:cNvSpPr/>
            <p:nvPr/>
          </p:nvSpPr>
          <p:spPr>
            <a:xfrm>
              <a:off x="4111752" y="1822704"/>
              <a:ext cx="772795" cy="1082675"/>
            </a:xfrm>
            <a:custGeom>
              <a:avLst/>
              <a:gdLst/>
              <a:ahLst/>
              <a:cxnLst/>
              <a:rect l="l" t="t" r="r" b="b"/>
              <a:pathLst>
                <a:path w="772795" h="1082675">
                  <a:moveTo>
                    <a:pt x="0" y="0"/>
                  </a:moveTo>
                  <a:lnTo>
                    <a:pt x="48863" y="1521"/>
                  </a:lnTo>
                  <a:lnTo>
                    <a:pt x="96919" y="6026"/>
                  </a:lnTo>
                  <a:lnTo>
                    <a:pt x="144077" y="13424"/>
                  </a:lnTo>
                  <a:lnTo>
                    <a:pt x="190246" y="23624"/>
                  </a:lnTo>
                  <a:lnTo>
                    <a:pt x="235337" y="36535"/>
                  </a:lnTo>
                  <a:lnTo>
                    <a:pt x="279258" y="52067"/>
                  </a:lnTo>
                  <a:lnTo>
                    <a:pt x="321919" y="70128"/>
                  </a:lnTo>
                  <a:lnTo>
                    <a:pt x="363229" y="90629"/>
                  </a:lnTo>
                  <a:lnTo>
                    <a:pt x="403098" y="113479"/>
                  </a:lnTo>
                  <a:lnTo>
                    <a:pt x="441436" y="138587"/>
                  </a:lnTo>
                  <a:lnTo>
                    <a:pt x="478151" y="165862"/>
                  </a:lnTo>
                  <a:lnTo>
                    <a:pt x="513154" y="195214"/>
                  </a:lnTo>
                  <a:lnTo>
                    <a:pt x="546354" y="226552"/>
                  </a:lnTo>
                  <a:lnTo>
                    <a:pt x="577659" y="259785"/>
                  </a:lnTo>
                  <a:lnTo>
                    <a:pt x="606981" y="294823"/>
                  </a:lnTo>
                  <a:lnTo>
                    <a:pt x="634228" y="331575"/>
                  </a:lnTo>
                  <a:lnTo>
                    <a:pt x="659309" y="369951"/>
                  </a:lnTo>
                  <a:lnTo>
                    <a:pt x="682135" y="409859"/>
                  </a:lnTo>
                  <a:lnTo>
                    <a:pt x="702614" y="451210"/>
                  </a:lnTo>
                  <a:lnTo>
                    <a:pt x="720657" y="493912"/>
                  </a:lnTo>
                  <a:lnTo>
                    <a:pt x="736172" y="537875"/>
                  </a:lnTo>
                  <a:lnTo>
                    <a:pt x="749069" y="583008"/>
                  </a:lnTo>
                  <a:lnTo>
                    <a:pt x="759257" y="629221"/>
                  </a:lnTo>
                  <a:lnTo>
                    <a:pt x="766647" y="676422"/>
                  </a:lnTo>
                  <a:lnTo>
                    <a:pt x="771147" y="724522"/>
                  </a:lnTo>
                  <a:lnTo>
                    <a:pt x="772668" y="773430"/>
                  </a:lnTo>
                  <a:lnTo>
                    <a:pt x="770853" y="826453"/>
                  </a:lnTo>
                  <a:lnTo>
                    <a:pt x="765433" y="879103"/>
                  </a:lnTo>
                  <a:lnTo>
                    <a:pt x="756443" y="931195"/>
                  </a:lnTo>
                  <a:lnTo>
                    <a:pt x="743918" y="982547"/>
                  </a:lnTo>
                  <a:lnTo>
                    <a:pt x="727894" y="1032974"/>
                  </a:lnTo>
                  <a:lnTo>
                    <a:pt x="708406" y="1082294"/>
                  </a:lnTo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52" name="object 40">
              <a:extLst>
                <a:ext uri="{FF2B5EF4-FFF2-40B4-BE49-F238E27FC236}">
                  <a16:creationId xmlns:a16="http://schemas.microsoft.com/office/drawing/2014/main" id="{7EF63173-29AE-4530-ABC4-DAAE69C69A00}"/>
                </a:ext>
              </a:extLst>
            </p:cNvPr>
            <p:cNvSpPr/>
            <p:nvPr/>
          </p:nvSpPr>
          <p:spPr>
            <a:xfrm>
              <a:off x="3547109" y="2032254"/>
              <a:ext cx="1130935" cy="1130935"/>
            </a:xfrm>
            <a:custGeom>
              <a:avLst/>
              <a:gdLst/>
              <a:ahLst/>
              <a:cxnLst/>
              <a:rect l="l" t="t" r="r" b="b"/>
              <a:pathLst>
                <a:path w="1130935" h="1130935">
                  <a:moveTo>
                    <a:pt x="565403" y="0"/>
                  </a:moveTo>
                  <a:lnTo>
                    <a:pt x="516614" y="2075"/>
                  </a:lnTo>
                  <a:lnTo>
                    <a:pt x="468978" y="8187"/>
                  </a:lnTo>
                  <a:lnTo>
                    <a:pt x="422665" y="18167"/>
                  </a:lnTo>
                  <a:lnTo>
                    <a:pt x="377844" y="31845"/>
                  </a:lnTo>
                  <a:lnTo>
                    <a:pt x="334686" y="49051"/>
                  </a:lnTo>
                  <a:lnTo>
                    <a:pt x="293360" y="69615"/>
                  </a:lnTo>
                  <a:lnTo>
                    <a:pt x="254034" y="93369"/>
                  </a:lnTo>
                  <a:lnTo>
                    <a:pt x="216881" y="120142"/>
                  </a:lnTo>
                  <a:lnTo>
                    <a:pt x="182067" y="149765"/>
                  </a:lnTo>
                  <a:lnTo>
                    <a:pt x="149765" y="182067"/>
                  </a:lnTo>
                  <a:lnTo>
                    <a:pt x="120142" y="216881"/>
                  </a:lnTo>
                  <a:lnTo>
                    <a:pt x="93369" y="254034"/>
                  </a:lnTo>
                  <a:lnTo>
                    <a:pt x="69615" y="293360"/>
                  </a:lnTo>
                  <a:lnTo>
                    <a:pt x="49051" y="334686"/>
                  </a:lnTo>
                  <a:lnTo>
                    <a:pt x="31845" y="377844"/>
                  </a:lnTo>
                  <a:lnTo>
                    <a:pt x="18167" y="422665"/>
                  </a:lnTo>
                  <a:lnTo>
                    <a:pt x="8187" y="468978"/>
                  </a:lnTo>
                  <a:lnTo>
                    <a:pt x="2075" y="516614"/>
                  </a:lnTo>
                  <a:lnTo>
                    <a:pt x="0" y="565404"/>
                  </a:lnTo>
                  <a:lnTo>
                    <a:pt x="2075" y="614193"/>
                  </a:lnTo>
                  <a:lnTo>
                    <a:pt x="8187" y="661829"/>
                  </a:lnTo>
                  <a:lnTo>
                    <a:pt x="18167" y="708142"/>
                  </a:lnTo>
                  <a:lnTo>
                    <a:pt x="31845" y="752963"/>
                  </a:lnTo>
                  <a:lnTo>
                    <a:pt x="49051" y="796121"/>
                  </a:lnTo>
                  <a:lnTo>
                    <a:pt x="69615" y="837447"/>
                  </a:lnTo>
                  <a:lnTo>
                    <a:pt x="93369" y="876773"/>
                  </a:lnTo>
                  <a:lnTo>
                    <a:pt x="120142" y="913926"/>
                  </a:lnTo>
                  <a:lnTo>
                    <a:pt x="149765" y="948740"/>
                  </a:lnTo>
                  <a:lnTo>
                    <a:pt x="182067" y="981042"/>
                  </a:lnTo>
                  <a:lnTo>
                    <a:pt x="216881" y="1010665"/>
                  </a:lnTo>
                  <a:lnTo>
                    <a:pt x="254034" y="1037438"/>
                  </a:lnTo>
                  <a:lnTo>
                    <a:pt x="293360" y="1061192"/>
                  </a:lnTo>
                  <a:lnTo>
                    <a:pt x="334686" y="1081756"/>
                  </a:lnTo>
                  <a:lnTo>
                    <a:pt x="377844" y="1098962"/>
                  </a:lnTo>
                  <a:lnTo>
                    <a:pt x="422665" y="1112640"/>
                  </a:lnTo>
                  <a:lnTo>
                    <a:pt x="468978" y="1122620"/>
                  </a:lnTo>
                  <a:lnTo>
                    <a:pt x="516614" y="1128732"/>
                  </a:lnTo>
                  <a:lnTo>
                    <a:pt x="565403" y="1130808"/>
                  </a:lnTo>
                  <a:lnTo>
                    <a:pt x="614193" y="1128732"/>
                  </a:lnTo>
                  <a:lnTo>
                    <a:pt x="661829" y="1122620"/>
                  </a:lnTo>
                  <a:lnTo>
                    <a:pt x="708142" y="1112640"/>
                  </a:lnTo>
                  <a:lnTo>
                    <a:pt x="752963" y="1098962"/>
                  </a:lnTo>
                  <a:lnTo>
                    <a:pt x="796121" y="1081756"/>
                  </a:lnTo>
                  <a:lnTo>
                    <a:pt x="837447" y="1061192"/>
                  </a:lnTo>
                  <a:lnTo>
                    <a:pt x="876773" y="1037438"/>
                  </a:lnTo>
                  <a:lnTo>
                    <a:pt x="913926" y="1010665"/>
                  </a:lnTo>
                  <a:lnTo>
                    <a:pt x="948740" y="981042"/>
                  </a:lnTo>
                  <a:lnTo>
                    <a:pt x="981042" y="948740"/>
                  </a:lnTo>
                  <a:lnTo>
                    <a:pt x="1010665" y="913926"/>
                  </a:lnTo>
                  <a:lnTo>
                    <a:pt x="1037438" y="876773"/>
                  </a:lnTo>
                  <a:lnTo>
                    <a:pt x="1061192" y="837447"/>
                  </a:lnTo>
                  <a:lnTo>
                    <a:pt x="1081756" y="796121"/>
                  </a:lnTo>
                  <a:lnTo>
                    <a:pt x="1098962" y="752963"/>
                  </a:lnTo>
                  <a:lnTo>
                    <a:pt x="1112640" y="708142"/>
                  </a:lnTo>
                  <a:lnTo>
                    <a:pt x="1122620" y="661829"/>
                  </a:lnTo>
                  <a:lnTo>
                    <a:pt x="1128732" y="614193"/>
                  </a:lnTo>
                  <a:lnTo>
                    <a:pt x="1130807" y="565404"/>
                  </a:lnTo>
                  <a:lnTo>
                    <a:pt x="1128732" y="516614"/>
                  </a:lnTo>
                  <a:lnTo>
                    <a:pt x="1122620" y="468978"/>
                  </a:lnTo>
                  <a:lnTo>
                    <a:pt x="1112640" y="422665"/>
                  </a:lnTo>
                  <a:lnTo>
                    <a:pt x="1098962" y="377844"/>
                  </a:lnTo>
                  <a:lnTo>
                    <a:pt x="1081756" y="334686"/>
                  </a:lnTo>
                  <a:lnTo>
                    <a:pt x="1061192" y="293360"/>
                  </a:lnTo>
                  <a:lnTo>
                    <a:pt x="1037438" y="254034"/>
                  </a:lnTo>
                  <a:lnTo>
                    <a:pt x="1010665" y="216881"/>
                  </a:lnTo>
                  <a:lnTo>
                    <a:pt x="981042" y="182067"/>
                  </a:lnTo>
                  <a:lnTo>
                    <a:pt x="948740" y="149765"/>
                  </a:lnTo>
                  <a:lnTo>
                    <a:pt x="913926" y="120142"/>
                  </a:lnTo>
                  <a:lnTo>
                    <a:pt x="876773" y="93369"/>
                  </a:lnTo>
                  <a:lnTo>
                    <a:pt x="837447" y="69615"/>
                  </a:lnTo>
                  <a:lnTo>
                    <a:pt x="796121" y="49051"/>
                  </a:lnTo>
                  <a:lnTo>
                    <a:pt x="752963" y="31845"/>
                  </a:lnTo>
                  <a:lnTo>
                    <a:pt x="708142" y="18167"/>
                  </a:lnTo>
                  <a:lnTo>
                    <a:pt x="661829" y="8187"/>
                  </a:lnTo>
                  <a:lnTo>
                    <a:pt x="614193" y="2075"/>
                  </a:lnTo>
                  <a:lnTo>
                    <a:pt x="565403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53" name="object 41">
              <a:extLst>
                <a:ext uri="{FF2B5EF4-FFF2-40B4-BE49-F238E27FC236}">
                  <a16:creationId xmlns:a16="http://schemas.microsoft.com/office/drawing/2014/main" id="{9A541F79-BC91-4AFA-ADC1-85D472B392DD}"/>
                </a:ext>
              </a:extLst>
            </p:cNvPr>
            <p:cNvSpPr/>
            <p:nvPr/>
          </p:nvSpPr>
          <p:spPr>
            <a:xfrm>
              <a:off x="3547109" y="2032254"/>
              <a:ext cx="1130935" cy="1130935"/>
            </a:xfrm>
            <a:custGeom>
              <a:avLst/>
              <a:gdLst/>
              <a:ahLst/>
              <a:cxnLst/>
              <a:rect l="l" t="t" r="r" b="b"/>
              <a:pathLst>
                <a:path w="1130935" h="1130935">
                  <a:moveTo>
                    <a:pt x="0" y="565404"/>
                  </a:moveTo>
                  <a:lnTo>
                    <a:pt x="2075" y="516614"/>
                  </a:lnTo>
                  <a:lnTo>
                    <a:pt x="8187" y="468978"/>
                  </a:lnTo>
                  <a:lnTo>
                    <a:pt x="18167" y="422665"/>
                  </a:lnTo>
                  <a:lnTo>
                    <a:pt x="31845" y="377844"/>
                  </a:lnTo>
                  <a:lnTo>
                    <a:pt x="49051" y="334686"/>
                  </a:lnTo>
                  <a:lnTo>
                    <a:pt x="69615" y="293360"/>
                  </a:lnTo>
                  <a:lnTo>
                    <a:pt x="93369" y="254034"/>
                  </a:lnTo>
                  <a:lnTo>
                    <a:pt x="120142" y="216881"/>
                  </a:lnTo>
                  <a:lnTo>
                    <a:pt x="149765" y="182067"/>
                  </a:lnTo>
                  <a:lnTo>
                    <a:pt x="182067" y="149765"/>
                  </a:lnTo>
                  <a:lnTo>
                    <a:pt x="216881" y="120142"/>
                  </a:lnTo>
                  <a:lnTo>
                    <a:pt x="254034" y="93369"/>
                  </a:lnTo>
                  <a:lnTo>
                    <a:pt x="293360" y="69615"/>
                  </a:lnTo>
                  <a:lnTo>
                    <a:pt x="334686" y="49051"/>
                  </a:lnTo>
                  <a:lnTo>
                    <a:pt x="377844" y="31845"/>
                  </a:lnTo>
                  <a:lnTo>
                    <a:pt x="422665" y="18167"/>
                  </a:lnTo>
                  <a:lnTo>
                    <a:pt x="468978" y="8187"/>
                  </a:lnTo>
                  <a:lnTo>
                    <a:pt x="516614" y="2075"/>
                  </a:lnTo>
                  <a:lnTo>
                    <a:pt x="565403" y="0"/>
                  </a:lnTo>
                  <a:lnTo>
                    <a:pt x="614193" y="2075"/>
                  </a:lnTo>
                  <a:lnTo>
                    <a:pt x="661829" y="8187"/>
                  </a:lnTo>
                  <a:lnTo>
                    <a:pt x="708142" y="18167"/>
                  </a:lnTo>
                  <a:lnTo>
                    <a:pt x="752963" y="31845"/>
                  </a:lnTo>
                  <a:lnTo>
                    <a:pt x="796121" y="49051"/>
                  </a:lnTo>
                  <a:lnTo>
                    <a:pt x="837447" y="69615"/>
                  </a:lnTo>
                  <a:lnTo>
                    <a:pt x="876773" y="93369"/>
                  </a:lnTo>
                  <a:lnTo>
                    <a:pt x="913926" y="120142"/>
                  </a:lnTo>
                  <a:lnTo>
                    <a:pt x="948740" y="149765"/>
                  </a:lnTo>
                  <a:lnTo>
                    <a:pt x="981042" y="182067"/>
                  </a:lnTo>
                  <a:lnTo>
                    <a:pt x="1010665" y="216881"/>
                  </a:lnTo>
                  <a:lnTo>
                    <a:pt x="1037438" y="254034"/>
                  </a:lnTo>
                  <a:lnTo>
                    <a:pt x="1061192" y="293360"/>
                  </a:lnTo>
                  <a:lnTo>
                    <a:pt x="1081756" y="334686"/>
                  </a:lnTo>
                  <a:lnTo>
                    <a:pt x="1098962" y="377844"/>
                  </a:lnTo>
                  <a:lnTo>
                    <a:pt x="1112640" y="422665"/>
                  </a:lnTo>
                  <a:lnTo>
                    <a:pt x="1122620" y="468978"/>
                  </a:lnTo>
                  <a:lnTo>
                    <a:pt x="1128732" y="516614"/>
                  </a:lnTo>
                  <a:lnTo>
                    <a:pt x="1130807" y="565404"/>
                  </a:lnTo>
                  <a:lnTo>
                    <a:pt x="1128732" y="614193"/>
                  </a:lnTo>
                  <a:lnTo>
                    <a:pt x="1122620" y="661829"/>
                  </a:lnTo>
                  <a:lnTo>
                    <a:pt x="1112640" y="708142"/>
                  </a:lnTo>
                  <a:lnTo>
                    <a:pt x="1098962" y="752963"/>
                  </a:lnTo>
                  <a:lnTo>
                    <a:pt x="1081756" y="796121"/>
                  </a:lnTo>
                  <a:lnTo>
                    <a:pt x="1061192" y="837447"/>
                  </a:lnTo>
                  <a:lnTo>
                    <a:pt x="1037438" y="876773"/>
                  </a:lnTo>
                  <a:lnTo>
                    <a:pt x="1010665" y="913926"/>
                  </a:lnTo>
                  <a:lnTo>
                    <a:pt x="981042" y="948740"/>
                  </a:lnTo>
                  <a:lnTo>
                    <a:pt x="948740" y="981042"/>
                  </a:lnTo>
                  <a:lnTo>
                    <a:pt x="913926" y="1010665"/>
                  </a:lnTo>
                  <a:lnTo>
                    <a:pt x="876773" y="1037438"/>
                  </a:lnTo>
                  <a:lnTo>
                    <a:pt x="837447" y="1061192"/>
                  </a:lnTo>
                  <a:lnTo>
                    <a:pt x="796121" y="1081756"/>
                  </a:lnTo>
                  <a:lnTo>
                    <a:pt x="752963" y="1098962"/>
                  </a:lnTo>
                  <a:lnTo>
                    <a:pt x="708142" y="1112640"/>
                  </a:lnTo>
                  <a:lnTo>
                    <a:pt x="661829" y="1122620"/>
                  </a:lnTo>
                  <a:lnTo>
                    <a:pt x="614193" y="1128732"/>
                  </a:lnTo>
                  <a:lnTo>
                    <a:pt x="565403" y="1130808"/>
                  </a:lnTo>
                  <a:lnTo>
                    <a:pt x="516614" y="1128732"/>
                  </a:lnTo>
                  <a:lnTo>
                    <a:pt x="468978" y="1122620"/>
                  </a:lnTo>
                  <a:lnTo>
                    <a:pt x="422665" y="1112640"/>
                  </a:lnTo>
                  <a:lnTo>
                    <a:pt x="377844" y="1098962"/>
                  </a:lnTo>
                  <a:lnTo>
                    <a:pt x="334686" y="1081756"/>
                  </a:lnTo>
                  <a:lnTo>
                    <a:pt x="293360" y="1061192"/>
                  </a:lnTo>
                  <a:lnTo>
                    <a:pt x="254034" y="1037438"/>
                  </a:lnTo>
                  <a:lnTo>
                    <a:pt x="216881" y="1010665"/>
                  </a:lnTo>
                  <a:lnTo>
                    <a:pt x="182067" y="981042"/>
                  </a:lnTo>
                  <a:lnTo>
                    <a:pt x="149765" y="948740"/>
                  </a:lnTo>
                  <a:lnTo>
                    <a:pt x="120142" y="913926"/>
                  </a:lnTo>
                  <a:lnTo>
                    <a:pt x="93369" y="876773"/>
                  </a:lnTo>
                  <a:lnTo>
                    <a:pt x="69615" y="837447"/>
                  </a:lnTo>
                  <a:lnTo>
                    <a:pt x="49051" y="796121"/>
                  </a:lnTo>
                  <a:lnTo>
                    <a:pt x="31845" y="752963"/>
                  </a:lnTo>
                  <a:lnTo>
                    <a:pt x="18167" y="708142"/>
                  </a:lnTo>
                  <a:lnTo>
                    <a:pt x="8187" y="661829"/>
                  </a:lnTo>
                  <a:lnTo>
                    <a:pt x="2075" y="614193"/>
                  </a:lnTo>
                  <a:lnTo>
                    <a:pt x="0" y="565404"/>
                  </a:lnTo>
                  <a:close/>
                </a:path>
              </a:pathLst>
            </a:custGeom>
            <a:ln w="19812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41" name="TextBox 40">
            <a:extLst>
              <a:ext uri="{FF2B5EF4-FFF2-40B4-BE49-F238E27FC236}">
                <a16:creationId xmlns:a16="http://schemas.microsoft.com/office/drawing/2014/main" id="{56936B04-848D-44A7-A90D-61DE09649593}"/>
              </a:ext>
            </a:extLst>
          </p:cNvPr>
          <p:cNvSpPr txBox="1"/>
          <p:nvPr/>
        </p:nvSpPr>
        <p:spPr>
          <a:xfrm>
            <a:off x="7367111" y="1761650"/>
            <a:ext cx="994499" cy="184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err="1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Behovshaver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42" name="object 8">
            <a:extLst>
              <a:ext uri="{FF2B5EF4-FFF2-40B4-BE49-F238E27FC236}">
                <a16:creationId xmlns:a16="http://schemas.microsoft.com/office/drawing/2014/main" id="{0899BD54-F8CB-43A0-86E6-42622584F09E}"/>
              </a:ext>
            </a:extLst>
          </p:cNvPr>
          <p:cNvSpPr/>
          <p:nvPr/>
        </p:nvSpPr>
        <p:spPr>
          <a:xfrm flipH="1">
            <a:off x="7809726" y="1970090"/>
            <a:ext cx="181479" cy="538893"/>
          </a:xfrm>
          <a:prstGeom prst="rect">
            <a:avLst/>
          </a:prstGeom>
          <a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43" name="Freeform 756">
            <a:extLst>
              <a:ext uri="{FF2B5EF4-FFF2-40B4-BE49-F238E27FC236}">
                <a16:creationId xmlns:a16="http://schemas.microsoft.com/office/drawing/2014/main" id="{B8B9A667-C6ED-4A8A-A75D-9F9684BD7D88}"/>
              </a:ext>
            </a:extLst>
          </p:cNvPr>
          <p:cNvSpPr>
            <a:spLocks noEditPoints="1"/>
          </p:cNvSpPr>
          <p:nvPr/>
        </p:nvSpPr>
        <p:spPr bwMode="auto">
          <a:xfrm>
            <a:off x="7486987" y="2144849"/>
            <a:ext cx="221878" cy="245023"/>
          </a:xfrm>
          <a:custGeom>
            <a:avLst/>
            <a:gdLst>
              <a:gd name="T0" fmla="*/ 165 w 299"/>
              <a:gd name="T1" fmla="*/ 29 h 299"/>
              <a:gd name="T2" fmla="*/ 121 w 299"/>
              <a:gd name="T3" fmla="*/ 24 h 299"/>
              <a:gd name="T4" fmla="*/ 154 w 299"/>
              <a:gd name="T5" fmla="*/ 1 h 299"/>
              <a:gd name="T6" fmla="*/ 64 w 299"/>
              <a:gd name="T7" fmla="*/ 61 h 299"/>
              <a:gd name="T8" fmla="*/ 107 w 299"/>
              <a:gd name="T9" fmla="*/ 31 h 299"/>
              <a:gd name="T10" fmla="*/ 54 w 299"/>
              <a:gd name="T11" fmla="*/ 55 h 299"/>
              <a:gd name="T12" fmla="*/ 26 w 299"/>
              <a:gd name="T13" fmla="*/ 56 h 299"/>
              <a:gd name="T14" fmla="*/ 0 w 299"/>
              <a:gd name="T15" fmla="*/ 96 h 299"/>
              <a:gd name="T16" fmla="*/ 22 w 299"/>
              <a:gd name="T17" fmla="*/ 91 h 299"/>
              <a:gd name="T18" fmla="*/ 40 w 299"/>
              <a:gd name="T19" fmla="*/ 88 h 299"/>
              <a:gd name="T20" fmla="*/ 59 w 299"/>
              <a:gd name="T21" fmla="*/ 109 h 299"/>
              <a:gd name="T22" fmla="*/ 107 w 299"/>
              <a:gd name="T23" fmla="*/ 119 h 299"/>
              <a:gd name="T24" fmla="*/ 54 w 299"/>
              <a:gd name="T25" fmla="*/ 95 h 299"/>
              <a:gd name="T26" fmla="*/ 150 w 299"/>
              <a:gd name="T27" fmla="*/ 127 h 299"/>
              <a:gd name="T28" fmla="*/ 126 w 299"/>
              <a:gd name="T29" fmla="*/ 139 h 299"/>
              <a:gd name="T30" fmla="*/ 150 w 299"/>
              <a:gd name="T31" fmla="*/ 171 h 299"/>
              <a:gd name="T32" fmla="*/ 174 w 299"/>
              <a:gd name="T33" fmla="*/ 139 h 299"/>
              <a:gd name="T34" fmla="*/ 231 w 299"/>
              <a:gd name="T35" fmla="*/ 89 h 299"/>
              <a:gd name="T36" fmla="*/ 202 w 299"/>
              <a:gd name="T37" fmla="*/ 125 h 299"/>
              <a:gd name="T38" fmla="*/ 245 w 299"/>
              <a:gd name="T39" fmla="*/ 95 h 299"/>
              <a:gd name="T40" fmla="*/ 273 w 299"/>
              <a:gd name="T41" fmla="*/ 56 h 299"/>
              <a:gd name="T42" fmla="*/ 259 w 299"/>
              <a:gd name="T43" fmla="*/ 88 h 299"/>
              <a:gd name="T44" fmla="*/ 278 w 299"/>
              <a:gd name="T45" fmla="*/ 91 h 299"/>
              <a:gd name="T46" fmla="*/ 299 w 299"/>
              <a:gd name="T47" fmla="*/ 96 h 299"/>
              <a:gd name="T48" fmla="*/ 240 w 299"/>
              <a:gd name="T49" fmla="*/ 41 h 299"/>
              <a:gd name="T50" fmla="*/ 198 w 299"/>
              <a:gd name="T51" fmla="*/ 45 h 299"/>
              <a:gd name="T52" fmla="*/ 245 w 299"/>
              <a:gd name="T53" fmla="*/ 55 h 299"/>
              <a:gd name="T54" fmla="*/ 22 w 299"/>
              <a:gd name="T55" fmla="*/ 160 h 299"/>
              <a:gd name="T56" fmla="*/ 0 w 299"/>
              <a:gd name="T57" fmla="*/ 128 h 299"/>
              <a:gd name="T58" fmla="*/ 35 w 299"/>
              <a:gd name="T59" fmla="*/ 214 h 299"/>
              <a:gd name="T60" fmla="*/ 11 w 299"/>
              <a:gd name="T61" fmla="*/ 181 h 299"/>
              <a:gd name="T62" fmla="*/ 6 w 299"/>
              <a:gd name="T63" fmla="*/ 223 h 299"/>
              <a:gd name="T64" fmla="*/ 39 w 299"/>
              <a:gd name="T65" fmla="*/ 229 h 299"/>
              <a:gd name="T66" fmla="*/ 69 w 299"/>
              <a:gd name="T67" fmla="*/ 232 h 299"/>
              <a:gd name="T68" fmla="*/ 92 w 299"/>
              <a:gd name="T69" fmla="*/ 269 h 299"/>
              <a:gd name="T70" fmla="*/ 102 w 299"/>
              <a:gd name="T71" fmla="*/ 250 h 299"/>
              <a:gd name="T72" fmla="*/ 160 w 299"/>
              <a:gd name="T73" fmla="*/ 203 h 299"/>
              <a:gd name="T74" fmla="*/ 139 w 299"/>
              <a:gd name="T75" fmla="*/ 235 h 299"/>
              <a:gd name="T76" fmla="*/ 160 w 299"/>
              <a:gd name="T77" fmla="*/ 271 h 299"/>
              <a:gd name="T78" fmla="*/ 139 w 299"/>
              <a:gd name="T79" fmla="*/ 267 h 299"/>
              <a:gd name="T80" fmla="*/ 121 w 299"/>
              <a:gd name="T81" fmla="*/ 273 h 299"/>
              <a:gd name="T82" fmla="*/ 150 w 299"/>
              <a:gd name="T83" fmla="*/ 299 h 299"/>
              <a:gd name="T84" fmla="*/ 174 w 299"/>
              <a:gd name="T85" fmla="*/ 289 h 299"/>
              <a:gd name="T86" fmla="*/ 231 w 299"/>
              <a:gd name="T87" fmla="*/ 239 h 299"/>
              <a:gd name="T88" fmla="*/ 202 w 299"/>
              <a:gd name="T89" fmla="*/ 274 h 299"/>
              <a:gd name="T90" fmla="*/ 245 w 299"/>
              <a:gd name="T91" fmla="*/ 244 h 299"/>
              <a:gd name="T92" fmla="*/ 278 w 299"/>
              <a:gd name="T93" fmla="*/ 203 h 299"/>
              <a:gd name="T94" fmla="*/ 259 w 299"/>
              <a:gd name="T95" fmla="*/ 237 h 299"/>
              <a:gd name="T96" fmla="*/ 293 w 299"/>
              <a:gd name="T97" fmla="*/ 234 h 299"/>
              <a:gd name="T98" fmla="*/ 288 w 299"/>
              <a:gd name="T99" fmla="*/ 192 h 299"/>
              <a:gd name="T100" fmla="*/ 278 w 299"/>
              <a:gd name="T101" fmla="*/ 171 h 299"/>
              <a:gd name="T102" fmla="*/ 299 w 299"/>
              <a:gd name="T103" fmla="*/ 139 h 2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299" h="299">
                <a:moveTo>
                  <a:pt x="179" y="24"/>
                </a:moveTo>
                <a:cubicBezTo>
                  <a:pt x="177" y="28"/>
                  <a:pt x="173" y="30"/>
                  <a:pt x="169" y="30"/>
                </a:cubicBezTo>
                <a:cubicBezTo>
                  <a:pt x="168" y="30"/>
                  <a:pt x="166" y="30"/>
                  <a:pt x="165" y="29"/>
                </a:cubicBezTo>
                <a:cubicBezTo>
                  <a:pt x="150" y="22"/>
                  <a:pt x="150" y="22"/>
                  <a:pt x="150" y="22"/>
                </a:cubicBezTo>
                <a:cubicBezTo>
                  <a:pt x="135" y="29"/>
                  <a:pt x="135" y="29"/>
                  <a:pt x="135" y="29"/>
                </a:cubicBezTo>
                <a:cubicBezTo>
                  <a:pt x="129" y="32"/>
                  <a:pt x="123" y="29"/>
                  <a:pt x="121" y="24"/>
                </a:cubicBezTo>
                <a:cubicBezTo>
                  <a:pt x="118" y="19"/>
                  <a:pt x="120" y="12"/>
                  <a:pt x="126" y="10"/>
                </a:cubicBezTo>
                <a:cubicBezTo>
                  <a:pt x="145" y="1"/>
                  <a:pt x="145" y="1"/>
                  <a:pt x="145" y="1"/>
                </a:cubicBezTo>
                <a:cubicBezTo>
                  <a:pt x="148" y="0"/>
                  <a:pt x="151" y="0"/>
                  <a:pt x="154" y="1"/>
                </a:cubicBezTo>
                <a:cubicBezTo>
                  <a:pt x="174" y="10"/>
                  <a:pt x="174" y="10"/>
                  <a:pt x="174" y="10"/>
                </a:cubicBezTo>
                <a:cubicBezTo>
                  <a:pt x="179" y="12"/>
                  <a:pt x="181" y="19"/>
                  <a:pt x="179" y="24"/>
                </a:cubicBezTo>
                <a:close/>
                <a:moveTo>
                  <a:pt x="64" y="61"/>
                </a:moveTo>
                <a:cubicBezTo>
                  <a:pt x="65" y="61"/>
                  <a:pt x="67" y="61"/>
                  <a:pt x="68" y="60"/>
                </a:cubicBezTo>
                <a:cubicBezTo>
                  <a:pt x="101" y="45"/>
                  <a:pt x="101" y="45"/>
                  <a:pt x="101" y="45"/>
                </a:cubicBezTo>
                <a:cubicBezTo>
                  <a:pt x="107" y="42"/>
                  <a:pt x="109" y="36"/>
                  <a:pt x="107" y="31"/>
                </a:cubicBezTo>
                <a:cubicBezTo>
                  <a:pt x="104" y="25"/>
                  <a:pt x="98" y="23"/>
                  <a:pt x="93" y="25"/>
                </a:cubicBezTo>
                <a:cubicBezTo>
                  <a:pt x="59" y="41"/>
                  <a:pt x="59" y="41"/>
                  <a:pt x="59" y="41"/>
                </a:cubicBezTo>
                <a:cubicBezTo>
                  <a:pt x="54" y="43"/>
                  <a:pt x="52" y="49"/>
                  <a:pt x="54" y="55"/>
                </a:cubicBezTo>
                <a:cubicBezTo>
                  <a:pt x="56" y="59"/>
                  <a:pt x="60" y="61"/>
                  <a:pt x="64" y="61"/>
                </a:cubicBezTo>
                <a:close/>
                <a:moveTo>
                  <a:pt x="40" y="61"/>
                </a:moveTo>
                <a:cubicBezTo>
                  <a:pt x="38" y="56"/>
                  <a:pt x="31" y="54"/>
                  <a:pt x="26" y="56"/>
                </a:cubicBezTo>
                <a:cubicBezTo>
                  <a:pt x="7" y="65"/>
                  <a:pt x="7" y="65"/>
                  <a:pt x="7" y="65"/>
                </a:cubicBezTo>
                <a:cubicBezTo>
                  <a:pt x="3" y="67"/>
                  <a:pt x="0" y="71"/>
                  <a:pt x="0" y="75"/>
                </a:cubicBezTo>
                <a:cubicBezTo>
                  <a:pt x="0" y="96"/>
                  <a:pt x="0" y="96"/>
                  <a:pt x="0" y="96"/>
                </a:cubicBezTo>
                <a:cubicBezTo>
                  <a:pt x="0" y="102"/>
                  <a:pt x="5" y="107"/>
                  <a:pt x="11" y="107"/>
                </a:cubicBezTo>
                <a:cubicBezTo>
                  <a:pt x="17" y="107"/>
                  <a:pt x="22" y="102"/>
                  <a:pt x="22" y="96"/>
                </a:cubicBezTo>
                <a:cubicBezTo>
                  <a:pt x="22" y="91"/>
                  <a:pt x="22" y="91"/>
                  <a:pt x="22" y="91"/>
                </a:cubicBezTo>
                <a:cubicBezTo>
                  <a:pt x="26" y="93"/>
                  <a:pt x="26" y="93"/>
                  <a:pt x="26" y="93"/>
                </a:cubicBezTo>
                <a:cubicBezTo>
                  <a:pt x="27" y="94"/>
                  <a:pt x="29" y="94"/>
                  <a:pt x="30" y="94"/>
                </a:cubicBezTo>
                <a:cubicBezTo>
                  <a:pt x="34" y="94"/>
                  <a:pt x="38" y="92"/>
                  <a:pt x="40" y="88"/>
                </a:cubicBezTo>
                <a:cubicBezTo>
                  <a:pt x="42" y="83"/>
                  <a:pt x="41" y="78"/>
                  <a:pt x="36" y="75"/>
                </a:cubicBezTo>
                <a:cubicBezTo>
                  <a:pt x="41" y="72"/>
                  <a:pt x="42" y="66"/>
                  <a:pt x="40" y="61"/>
                </a:cubicBezTo>
                <a:close/>
                <a:moveTo>
                  <a:pt x="59" y="109"/>
                </a:moveTo>
                <a:cubicBezTo>
                  <a:pt x="93" y="124"/>
                  <a:pt x="93" y="124"/>
                  <a:pt x="93" y="124"/>
                </a:cubicBezTo>
                <a:cubicBezTo>
                  <a:pt x="94" y="125"/>
                  <a:pt x="95" y="125"/>
                  <a:pt x="97" y="125"/>
                </a:cubicBezTo>
                <a:cubicBezTo>
                  <a:pt x="101" y="125"/>
                  <a:pt x="105" y="123"/>
                  <a:pt x="107" y="119"/>
                </a:cubicBezTo>
                <a:cubicBezTo>
                  <a:pt x="109" y="113"/>
                  <a:pt x="107" y="107"/>
                  <a:pt x="101" y="105"/>
                </a:cubicBezTo>
                <a:cubicBezTo>
                  <a:pt x="68" y="89"/>
                  <a:pt x="68" y="89"/>
                  <a:pt x="68" y="89"/>
                </a:cubicBezTo>
                <a:cubicBezTo>
                  <a:pt x="63" y="87"/>
                  <a:pt x="56" y="89"/>
                  <a:pt x="54" y="95"/>
                </a:cubicBezTo>
                <a:cubicBezTo>
                  <a:pt x="52" y="100"/>
                  <a:pt x="54" y="106"/>
                  <a:pt x="59" y="109"/>
                </a:cubicBezTo>
                <a:close/>
                <a:moveTo>
                  <a:pt x="165" y="120"/>
                </a:moveTo>
                <a:cubicBezTo>
                  <a:pt x="150" y="127"/>
                  <a:pt x="150" y="127"/>
                  <a:pt x="150" y="127"/>
                </a:cubicBezTo>
                <a:cubicBezTo>
                  <a:pt x="135" y="120"/>
                  <a:pt x="135" y="120"/>
                  <a:pt x="135" y="120"/>
                </a:cubicBezTo>
                <a:cubicBezTo>
                  <a:pt x="129" y="118"/>
                  <a:pt x="123" y="120"/>
                  <a:pt x="121" y="125"/>
                </a:cubicBezTo>
                <a:cubicBezTo>
                  <a:pt x="118" y="131"/>
                  <a:pt x="120" y="137"/>
                  <a:pt x="126" y="139"/>
                </a:cubicBezTo>
                <a:cubicBezTo>
                  <a:pt x="139" y="145"/>
                  <a:pt x="139" y="145"/>
                  <a:pt x="139" y="145"/>
                </a:cubicBezTo>
                <a:cubicBezTo>
                  <a:pt x="139" y="160"/>
                  <a:pt x="139" y="160"/>
                  <a:pt x="139" y="160"/>
                </a:cubicBezTo>
                <a:cubicBezTo>
                  <a:pt x="139" y="166"/>
                  <a:pt x="144" y="171"/>
                  <a:pt x="150" y="171"/>
                </a:cubicBezTo>
                <a:cubicBezTo>
                  <a:pt x="156" y="171"/>
                  <a:pt x="160" y="166"/>
                  <a:pt x="160" y="160"/>
                </a:cubicBezTo>
                <a:cubicBezTo>
                  <a:pt x="160" y="145"/>
                  <a:pt x="160" y="145"/>
                  <a:pt x="160" y="145"/>
                </a:cubicBezTo>
                <a:cubicBezTo>
                  <a:pt x="174" y="139"/>
                  <a:pt x="174" y="139"/>
                  <a:pt x="174" y="139"/>
                </a:cubicBezTo>
                <a:cubicBezTo>
                  <a:pt x="179" y="137"/>
                  <a:pt x="181" y="131"/>
                  <a:pt x="179" y="125"/>
                </a:cubicBezTo>
                <a:cubicBezTo>
                  <a:pt x="176" y="120"/>
                  <a:pt x="170" y="118"/>
                  <a:pt x="165" y="120"/>
                </a:cubicBezTo>
                <a:close/>
                <a:moveTo>
                  <a:pt x="231" y="89"/>
                </a:moveTo>
                <a:cubicBezTo>
                  <a:pt x="198" y="105"/>
                  <a:pt x="198" y="105"/>
                  <a:pt x="198" y="105"/>
                </a:cubicBezTo>
                <a:cubicBezTo>
                  <a:pt x="193" y="107"/>
                  <a:pt x="190" y="113"/>
                  <a:pt x="193" y="119"/>
                </a:cubicBezTo>
                <a:cubicBezTo>
                  <a:pt x="194" y="123"/>
                  <a:pt x="198" y="125"/>
                  <a:pt x="202" y="125"/>
                </a:cubicBezTo>
                <a:cubicBezTo>
                  <a:pt x="204" y="125"/>
                  <a:pt x="205" y="125"/>
                  <a:pt x="207" y="124"/>
                </a:cubicBezTo>
                <a:cubicBezTo>
                  <a:pt x="240" y="109"/>
                  <a:pt x="240" y="109"/>
                  <a:pt x="240" y="109"/>
                </a:cubicBezTo>
                <a:cubicBezTo>
                  <a:pt x="245" y="106"/>
                  <a:pt x="248" y="100"/>
                  <a:pt x="245" y="95"/>
                </a:cubicBezTo>
                <a:cubicBezTo>
                  <a:pt x="243" y="89"/>
                  <a:pt x="237" y="87"/>
                  <a:pt x="231" y="89"/>
                </a:cubicBezTo>
                <a:close/>
                <a:moveTo>
                  <a:pt x="293" y="65"/>
                </a:moveTo>
                <a:cubicBezTo>
                  <a:pt x="273" y="56"/>
                  <a:pt x="273" y="56"/>
                  <a:pt x="273" y="56"/>
                </a:cubicBezTo>
                <a:cubicBezTo>
                  <a:pt x="268" y="54"/>
                  <a:pt x="262" y="56"/>
                  <a:pt x="259" y="61"/>
                </a:cubicBezTo>
                <a:cubicBezTo>
                  <a:pt x="257" y="66"/>
                  <a:pt x="259" y="72"/>
                  <a:pt x="263" y="75"/>
                </a:cubicBezTo>
                <a:cubicBezTo>
                  <a:pt x="259" y="78"/>
                  <a:pt x="257" y="83"/>
                  <a:pt x="259" y="88"/>
                </a:cubicBezTo>
                <a:cubicBezTo>
                  <a:pt x="261" y="92"/>
                  <a:pt x="265" y="94"/>
                  <a:pt x="269" y="94"/>
                </a:cubicBezTo>
                <a:cubicBezTo>
                  <a:pt x="270" y="94"/>
                  <a:pt x="272" y="94"/>
                  <a:pt x="273" y="93"/>
                </a:cubicBezTo>
                <a:cubicBezTo>
                  <a:pt x="278" y="91"/>
                  <a:pt x="278" y="91"/>
                  <a:pt x="278" y="91"/>
                </a:cubicBezTo>
                <a:cubicBezTo>
                  <a:pt x="278" y="96"/>
                  <a:pt x="278" y="96"/>
                  <a:pt x="278" y="96"/>
                </a:cubicBezTo>
                <a:cubicBezTo>
                  <a:pt x="278" y="102"/>
                  <a:pt x="282" y="107"/>
                  <a:pt x="288" y="107"/>
                </a:cubicBezTo>
                <a:cubicBezTo>
                  <a:pt x="294" y="107"/>
                  <a:pt x="299" y="102"/>
                  <a:pt x="299" y="96"/>
                </a:cubicBezTo>
                <a:cubicBezTo>
                  <a:pt x="299" y="75"/>
                  <a:pt x="299" y="75"/>
                  <a:pt x="299" y="75"/>
                </a:cubicBezTo>
                <a:cubicBezTo>
                  <a:pt x="299" y="71"/>
                  <a:pt x="297" y="67"/>
                  <a:pt x="293" y="65"/>
                </a:cubicBezTo>
                <a:close/>
                <a:moveTo>
                  <a:pt x="240" y="41"/>
                </a:moveTo>
                <a:cubicBezTo>
                  <a:pt x="207" y="25"/>
                  <a:pt x="207" y="25"/>
                  <a:pt x="207" y="25"/>
                </a:cubicBezTo>
                <a:cubicBezTo>
                  <a:pt x="201" y="23"/>
                  <a:pt x="195" y="25"/>
                  <a:pt x="193" y="31"/>
                </a:cubicBezTo>
                <a:cubicBezTo>
                  <a:pt x="190" y="36"/>
                  <a:pt x="193" y="42"/>
                  <a:pt x="198" y="45"/>
                </a:cubicBezTo>
                <a:cubicBezTo>
                  <a:pt x="231" y="60"/>
                  <a:pt x="231" y="60"/>
                  <a:pt x="231" y="60"/>
                </a:cubicBezTo>
                <a:cubicBezTo>
                  <a:pt x="233" y="61"/>
                  <a:pt x="234" y="61"/>
                  <a:pt x="236" y="61"/>
                </a:cubicBezTo>
                <a:cubicBezTo>
                  <a:pt x="240" y="61"/>
                  <a:pt x="244" y="59"/>
                  <a:pt x="245" y="55"/>
                </a:cubicBezTo>
                <a:cubicBezTo>
                  <a:pt x="248" y="49"/>
                  <a:pt x="245" y="43"/>
                  <a:pt x="240" y="41"/>
                </a:cubicBezTo>
                <a:close/>
                <a:moveTo>
                  <a:pt x="11" y="171"/>
                </a:moveTo>
                <a:cubicBezTo>
                  <a:pt x="17" y="171"/>
                  <a:pt x="22" y="166"/>
                  <a:pt x="22" y="160"/>
                </a:cubicBezTo>
                <a:cubicBezTo>
                  <a:pt x="22" y="128"/>
                  <a:pt x="22" y="128"/>
                  <a:pt x="22" y="128"/>
                </a:cubicBezTo>
                <a:cubicBezTo>
                  <a:pt x="22" y="122"/>
                  <a:pt x="17" y="117"/>
                  <a:pt x="11" y="117"/>
                </a:cubicBezTo>
                <a:cubicBezTo>
                  <a:pt x="5" y="117"/>
                  <a:pt x="0" y="122"/>
                  <a:pt x="0" y="128"/>
                </a:cubicBezTo>
                <a:cubicBezTo>
                  <a:pt x="0" y="160"/>
                  <a:pt x="0" y="160"/>
                  <a:pt x="0" y="160"/>
                </a:cubicBezTo>
                <a:cubicBezTo>
                  <a:pt x="0" y="166"/>
                  <a:pt x="5" y="171"/>
                  <a:pt x="11" y="171"/>
                </a:cubicBezTo>
                <a:close/>
                <a:moveTo>
                  <a:pt x="35" y="214"/>
                </a:moveTo>
                <a:cubicBezTo>
                  <a:pt x="22" y="207"/>
                  <a:pt x="22" y="207"/>
                  <a:pt x="22" y="207"/>
                </a:cubicBezTo>
                <a:cubicBezTo>
                  <a:pt x="22" y="192"/>
                  <a:pt x="22" y="192"/>
                  <a:pt x="22" y="192"/>
                </a:cubicBezTo>
                <a:cubicBezTo>
                  <a:pt x="22" y="186"/>
                  <a:pt x="17" y="181"/>
                  <a:pt x="11" y="181"/>
                </a:cubicBezTo>
                <a:cubicBezTo>
                  <a:pt x="5" y="181"/>
                  <a:pt x="0" y="186"/>
                  <a:pt x="0" y="192"/>
                </a:cubicBezTo>
                <a:cubicBezTo>
                  <a:pt x="0" y="213"/>
                  <a:pt x="0" y="213"/>
                  <a:pt x="0" y="213"/>
                </a:cubicBezTo>
                <a:cubicBezTo>
                  <a:pt x="0" y="217"/>
                  <a:pt x="2" y="221"/>
                  <a:pt x="6" y="223"/>
                </a:cubicBezTo>
                <a:cubicBezTo>
                  <a:pt x="25" y="233"/>
                  <a:pt x="25" y="233"/>
                  <a:pt x="25" y="233"/>
                </a:cubicBezTo>
                <a:cubicBezTo>
                  <a:pt x="26" y="234"/>
                  <a:pt x="28" y="234"/>
                  <a:pt x="30" y="234"/>
                </a:cubicBezTo>
                <a:cubicBezTo>
                  <a:pt x="34" y="234"/>
                  <a:pt x="37" y="232"/>
                  <a:pt x="39" y="229"/>
                </a:cubicBezTo>
                <a:cubicBezTo>
                  <a:pt x="42" y="223"/>
                  <a:pt x="40" y="217"/>
                  <a:pt x="35" y="214"/>
                </a:cubicBezTo>
                <a:close/>
                <a:moveTo>
                  <a:pt x="102" y="250"/>
                </a:moveTo>
                <a:cubicBezTo>
                  <a:pt x="69" y="232"/>
                  <a:pt x="69" y="232"/>
                  <a:pt x="69" y="232"/>
                </a:cubicBezTo>
                <a:cubicBezTo>
                  <a:pt x="63" y="229"/>
                  <a:pt x="57" y="231"/>
                  <a:pt x="54" y="237"/>
                </a:cubicBezTo>
                <a:cubicBezTo>
                  <a:pt x="51" y="242"/>
                  <a:pt x="53" y="248"/>
                  <a:pt x="58" y="251"/>
                </a:cubicBezTo>
                <a:cubicBezTo>
                  <a:pt x="92" y="269"/>
                  <a:pt x="92" y="269"/>
                  <a:pt x="92" y="269"/>
                </a:cubicBezTo>
                <a:cubicBezTo>
                  <a:pt x="94" y="270"/>
                  <a:pt x="95" y="270"/>
                  <a:pt x="97" y="270"/>
                </a:cubicBezTo>
                <a:cubicBezTo>
                  <a:pt x="101" y="270"/>
                  <a:pt x="105" y="268"/>
                  <a:pt x="107" y="265"/>
                </a:cubicBezTo>
                <a:cubicBezTo>
                  <a:pt x="109" y="260"/>
                  <a:pt x="107" y="253"/>
                  <a:pt x="102" y="250"/>
                </a:cubicBezTo>
                <a:close/>
                <a:moveTo>
                  <a:pt x="150" y="245"/>
                </a:moveTo>
                <a:cubicBezTo>
                  <a:pt x="156" y="245"/>
                  <a:pt x="160" y="241"/>
                  <a:pt x="160" y="235"/>
                </a:cubicBezTo>
                <a:cubicBezTo>
                  <a:pt x="160" y="203"/>
                  <a:pt x="160" y="203"/>
                  <a:pt x="160" y="203"/>
                </a:cubicBezTo>
                <a:cubicBezTo>
                  <a:pt x="160" y="197"/>
                  <a:pt x="156" y="192"/>
                  <a:pt x="150" y="192"/>
                </a:cubicBezTo>
                <a:cubicBezTo>
                  <a:pt x="144" y="192"/>
                  <a:pt x="139" y="197"/>
                  <a:pt x="139" y="203"/>
                </a:cubicBezTo>
                <a:cubicBezTo>
                  <a:pt x="139" y="235"/>
                  <a:pt x="139" y="235"/>
                  <a:pt x="139" y="235"/>
                </a:cubicBezTo>
                <a:cubicBezTo>
                  <a:pt x="139" y="241"/>
                  <a:pt x="144" y="245"/>
                  <a:pt x="150" y="245"/>
                </a:cubicBezTo>
                <a:close/>
                <a:moveTo>
                  <a:pt x="165" y="269"/>
                </a:moveTo>
                <a:cubicBezTo>
                  <a:pt x="160" y="271"/>
                  <a:pt x="160" y="271"/>
                  <a:pt x="160" y="271"/>
                </a:cubicBezTo>
                <a:cubicBezTo>
                  <a:pt x="160" y="267"/>
                  <a:pt x="160" y="267"/>
                  <a:pt x="160" y="267"/>
                </a:cubicBezTo>
                <a:cubicBezTo>
                  <a:pt x="160" y="261"/>
                  <a:pt x="156" y="256"/>
                  <a:pt x="150" y="256"/>
                </a:cubicBezTo>
                <a:cubicBezTo>
                  <a:pt x="144" y="256"/>
                  <a:pt x="139" y="261"/>
                  <a:pt x="139" y="267"/>
                </a:cubicBezTo>
                <a:cubicBezTo>
                  <a:pt x="139" y="270"/>
                  <a:pt x="139" y="270"/>
                  <a:pt x="139" y="270"/>
                </a:cubicBezTo>
                <a:cubicBezTo>
                  <a:pt x="136" y="268"/>
                  <a:pt x="136" y="268"/>
                  <a:pt x="136" y="268"/>
                </a:cubicBezTo>
                <a:cubicBezTo>
                  <a:pt x="131" y="266"/>
                  <a:pt x="124" y="268"/>
                  <a:pt x="121" y="273"/>
                </a:cubicBezTo>
                <a:cubicBezTo>
                  <a:pt x="119" y="278"/>
                  <a:pt x="121" y="284"/>
                  <a:pt x="126" y="287"/>
                </a:cubicBezTo>
                <a:cubicBezTo>
                  <a:pt x="145" y="297"/>
                  <a:pt x="145" y="297"/>
                  <a:pt x="145" y="297"/>
                </a:cubicBezTo>
                <a:cubicBezTo>
                  <a:pt x="146" y="298"/>
                  <a:pt x="148" y="299"/>
                  <a:pt x="150" y="299"/>
                </a:cubicBezTo>
                <a:cubicBezTo>
                  <a:pt x="151" y="299"/>
                  <a:pt x="153" y="298"/>
                  <a:pt x="154" y="298"/>
                </a:cubicBezTo>
                <a:cubicBezTo>
                  <a:pt x="154" y="298"/>
                  <a:pt x="154" y="298"/>
                  <a:pt x="154" y="298"/>
                </a:cubicBezTo>
                <a:cubicBezTo>
                  <a:pt x="174" y="289"/>
                  <a:pt x="174" y="289"/>
                  <a:pt x="174" y="289"/>
                </a:cubicBezTo>
                <a:cubicBezTo>
                  <a:pt x="179" y="286"/>
                  <a:pt x="181" y="280"/>
                  <a:pt x="179" y="275"/>
                </a:cubicBezTo>
                <a:cubicBezTo>
                  <a:pt x="176" y="269"/>
                  <a:pt x="170" y="267"/>
                  <a:pt x="165" y="269"/>
                </a:cubicBezTo>
                <a:close/>
                <a:moveTo>
                  <a:pt x="231" y="239"/>
                </a:moveTo>
                <a:cubicBezTo>
                  <a:pt x="198" y="254"/>
                  <a:pt x="198" y="254"/>
                  <a:pt x="198" y="254"/>
                </a:cubicBezTo>
                <a:cubicBezTo>
                  <a:pt x="193" y="256"/>
                  <a:pt x="190" y="263"/>
                  <a:pt x="193" y="268"/>
                </a:cubicBezTo>
                <a:cubicBezTo>
                  <a:pt x="194" y="272"/>
                  <a:pt x="198" y="274"/>
                  <a:pt x="202" y="274"/>
                </a:cubicBezTo>
                <a:cubicBezTo>
                  <a:pt x="204" y="274"/>
                  <a:pt x="205" y="274"/>
                  <a:pt x="207" y="273"/>
                </a:cubicBezTo>
                <a:cubicBezTo>
                  <a:pt x="240" y="258"/>
                  <a:pt x="240" y="258"/>
                  <a:pt x="240" y="258"/>
                </a:cubicBezTo>
                <a:cubicBezTo>
                  <a:pt x="245" y="256"/>
                  <a:pt x="248" y="249"/>
                  <a:pt x="245" y="244"/>
                </a:cubicBezTo>
                <a:cubicBezTo>
                  <a:pt x="243" y="238"/>
                  <a:pt x="237" y="236"/>
                  <a:pt x="231" y="239"/>
                </a:cubicBezTo>
                <a:close/>
                <a:moveTo>
                  <a:pt x="288" y="192"/>
                </a:moveTo>
                <a:cubicBezTo>
                  <a:pt x="282" y="192"/>
                  <a:pt x="278" y="197"/>
                  <a:pt x="278" y="203"/>
                </a:cubicBezTo>
                <a:cubicBezTo>
                  <a:pt x="278" y="217"/>
                  <a:pt x="278" y="217"/>
                  <a:pt x="278" y="217"/>
                </a:cubicBezTo>
                <a:cubicBezTo>
                  <a:pt x="264" y="223"/>
                  <a:pt x="264" y="223"/>
                  <a:pt x="264" y="223"/>
                </a:cubicBezTo>
                <a:cubicBezTo>
                  <a:pt x="259" y="226"/>
                  <a:pt x="257" y="232"/>
                  <a:pt x="259" y="237"/>
                </a:cubicBezTo>
                <a:cubicBezTo>
                  <a:pt x="261" y="241"/>
                  <a:pt x="265" y="244"/>
                  <a:pt x="269" y="244"/>
                </a:cubicBezTo>
                <a:cubicBezTo>
                  <a:pt x="270" y="244"/>
                  <a:pt x="272" y="243"/>
                  <a:pt x="273" y="243"/>
                </a:cubicBezTo>
                <a:cubicBezTo>
                  <a:pt x="293" y="234"/>
                  <a:pt x="293" y="234"/>
                  <a:pt x="293" y="234"/>
                </a:cubicBezTo>
                <a:cubicBezTo>
                  <a:pt x="297" y="232"/>
                  <a:pt x="299" y="228"/>
                  <a:pt x="299" y="224"/>
                </a:cubicBezTo>
                <a:cubicBezTo>
                  <a:pt x="299" y="203"/>
                  <a:pt x="299" y="203"/>
                  <a:pt x="299" y="203"/>
                </a:cubicBezTo>
                <a:cubicBezTo>
                  <a:pt x="299" y="197"/>
                  <a:pt x="294" y="192"/>
                  <a:pt x="288" y="192"/>
                </a:cubicBezTo>
                <a:close/>
                <a:moveTo>
                  <a:pt x="288" y="128"/>
                </a:moveTo>
                <a:cubicBezTo>
                  <a:pt x="282" y="128"/>
                  <a:pt x="278" y="133"/>
                  <a:pt x="278" y="139"/>
                </a:cubicBezTo>
                <a:cubicBezTo>
                  <a:pt x="278" y="171"/>
                  <a:pt x="278" y="171"/>
                  <a:pt x="278" y="171"/>
                </a:cubicBezTo>
                <a:cubicBezTo>
                  <a:pt x="278" y="177"/>
                  <a:pt x="282" y="181"/>
                  <a:pt x="288" y="181"/>
                </a:cubicBezTo>
                <a:cubicBezTo>
                  <a:pt x="294" y="181"/>
                  <a:pt x="299" y="177"/>
                  <a:pt x="299" y="171"/>
                </a:cubicBezTo>
                <a:cubicBezTo>
                  <a:pt x="299" y="139"/>
                  <a:pt x="299" y="139"/>
                  <a:pt x="299" y="139"/>
                </a:cubicBezTo>
                <a:cubicBezTo>
                  <a:pt x="299" y="133"/>
                  <a:pt x="294" y="128"/>
                  <a:pt x="288" y="128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xmlns:mc="http://schemas.openxmlformats.org/markup-compatibility/2006" xmlns:p14="http://schemas.microsoft.com/office/powerpoint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446" tIns="60723" rIns="121446" bIns="60723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1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4" name="object 56">
            <a:extLst>
              <a:ext uri="{FF2B5EF4-FFF2-40B4-BE49-F238E27FC236}">
                <a16:creationId xmlns:a16="http://schemas.microsoft.com/office/drawing/2014/main" id="{4CB23EA2-8F84-4E0A-8A7C-158DD3EFC357}"/>
              </a:ext>
            </a:extLst>
          </p:cNvPr>
          <p:cNvSpPr txBox="1"/>
          <p:nvPr/>
        </p:nvSpPr>
        <p:spPr>
          <a:xfrm>
            <a:off x="6115269" y="1142328"/>
            <a:ext cx="1470290" cy="57900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-1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Mottar vare/tjeneste og melder ti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-1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Fagrekvirent for registrering av varemottak</a:t>
            </a:r>
            <a:endParaRPr kumimoji="0" lang="en-US" sz="900" b="0" i="0" u="none" strike="noStrike" kern="1200" cap="none" spc="-5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Verdana"/>
            </a:endParaRPr>
          </a:p>
        </p:txBody>
      </p:sp>
      <p:sp>
        <p:nvSpPr>
          <p:cNvPr id="45" name="object 65">
            <a:extLst>
              <a:ext uri="{FF2B5EF4-FFF2-40B4-BE49-F238E27FC236}">
                <a16:creationId xmlns:a16="http://schemas.microsoft.com/office/drawing/2014/main" id="{D501F192-7993-4FC2-8B08-58066ECBFC91}"/>
              </a:ext>
            </a:extLst>
          </p:cNvPr>
          <p:cNvSpPr/>
          <p:nvPr/>
        </p:nvSpPr>
        <p:spPr>
          <a:xfrm rot="20354384" flipV="1">
            <a:off x="6882440" y="2709912"/>
            <a:ext cx="592792" cy="186521"/>
          </a:xfrm>
          <a:custGeom>
            <a:avLst/>
            <a:gdLst/>
            <a:ahLst/>
            <a:cxnLst/>
            <a:rect l="l" t="t" r="r" b="b"/>
            <a:pathLst>
              <a:path w="1685289" h="352425">
                <a:moveTo>
                  <a:pt x="1621144" y="306764"/>
                </a:moveTo>
                <a:lnTo>
                  <a:pt x="1602486" y="327913"/>
                </a:lnTo>
                <a:lnTo>
                  <a:pt x="1684782" y="349758"/>
                </a:lnTo>
                <a:lnTo>
                  <a:pt x="1670790" y="315087"/>
                </a:lnTo>
                <a:lnTo>
                  <a:pt x="1631188" y="315087"/>
                </a:lnTo>
                <a:lnTo>
                  <a:pt x="1621144" y="306764"/>
                </a:lnTo>
                <a:close/>
              </a:path>
              <a:path w="1685289" h="352425">
                <a:moveTo>
                  <a:pt x="1633736" y="292491"/>
                </a:moveTo>
                <a:lnTo>
                  <a:pt x="1621144" y="306764"/>
                </a:lnTo>
                <a:lnTo>
                  <a:pt x="1631188" y="315087"/>
                </a:lnTo>
                <a:lnTo>
                  <a:pt x="1643380" y="300482"/>
                </a:lnTo>
                <a:lnTo>
                  <a:pt x="1633736" y="292491"/>
                </a:lnTo>
                <a:close/>
              </a:path>
              <a:path w="1685289" h="352425">
                <a:moveTo>
                  <a:pt x="1652905" y="270763"/>
                </a:moveTo>
                <a:lnTo>
                  <a:pt x="1633736" y="292491"/>
                </a:lnTo>
                <a:lnTo>
                  <a:pt x="1643380" y="300482"/>
                </a:lnTo>
                <a:lnTo>
                  <a:pt x="1631188" y="315087"/>
                </a:lnTo>
                <a:lnTo>
                  <a:pt x="1670790" y="315087"/>
                </a:lnTo>
                <a:lnTo>
                  <a:pt x="1652905" y="270763"/>
                </a:lnTo>
                <a:close/>
              </a:path>
              <a:path w="1685289" h="352425">
                <a:moveTo>
                  <a:pt x="1583689" y="252222"/>
                </a:moveTo>
                <a:lnTo>
                  <a:pt x="1572387" y="267588"/>
                </a:lnTo>
                <a:lnTo>
                  <a:pt x="1585976" y="277622"/>
                </a:lnTo>
                <a:lnTo>
                  <a:pt x="1621144" y="306764"/>
                </a:lnTo>
                <a:lnTo>
                  <a:pt x="1633736" y="292491"/>
                </a:lnTo>
                <a:lnTo>
                  <a:pt x="1598168" y="263017"/>
                </a:lnTo>
                <a:lnTo>
                  <a:pt x="1583689" y="252222"/>
                </a:lnTo>
                <a:close/>
              </a:path>
              <a:path w="1685289" h="352425">
                <a:moveTo>
                  <a:pt x="1472311" y="177292"/>
                </a:moveTo>
                <a:lnTo>
                  <a:pt x="1462532" y="193675"/>
                </a:lnTo>
                <a:lnTo>
                  <a:pt x="1488567" y="209296"/>
                </a:lnTo>
                <a:lnTo>
                  <a:pt x="1526286" y="234442"/>
                </a:lnTo>
                <a:lnTo>
                  <a:pt x="1536954" y="218694"/>
                </a:lnTo>
                <a:lnTo>
                  <a:pt x="1499108" y="193421"/>
                </a:lnTo>
                <a:lnTo>
                  <a:pt x="1472311" y="177292"/>
                </a:lnTo>
                <a:close/>
              </a:path>
              <a:path w="1685289" h="352425">
                <a:moveTo>
                  <a:pt x="1353693" y="114553"/>
                </a:moveTo>
                <a:lnTo>
                  <a:pt x="1345564" y="131825"/>
                </a:lnTo>
                <a:lnTo>
                  <a:pt x="1386586" y="151384"/>
                </a:lnTo>
                <a:lnTo>
                  <a:pt x="1413256" y="165608"/>
                </a:lnTo>
                <a:lnTo>
                  <a:pt x="1422273" y="148844"/>
                </a:lnTo>
                <a:lnTo>
                  <a:pt x="1395602" y="134493"/>
                </a:lnTo>
                <a:lnTo>
                  <a:pt x="1353693" y="114553"/>
                </a:lnTo>
                <a:close/>
              </a:path>
              <a:path w="1685289" h="352425">
                <a:moveTo>
                  <a:pt x="1228725" y="64770"/>
                </a:moveTo>
                <a:lnTo>
                  <a:pt x="1223010" y="82931"/>
                </a:lnTo>
                <a:lnTo>
                  <a:pt x="1226820" y="84200"/>
                </a:lnTo>
                <a:lnTo>
                  <a:pt x="1280922" y="103886"/>
                </a:lnTo>
                <a:lnTo>
                  <a:pt x="1293495" y="109220"/>
                </a:lnTo>
                <a:lnTo>
                  <a:pt x="1300861" y="91694"/>
                </a:lnTo>
                <a:lnTo>
                  <a:pt x="1288288" y="86360"/>
                </a:lnTo>
                <a:lnTo>
                  <a:pt x="1233424" y="66294"/>
                </a:lnTo>
                <a:lnTo>
                  <a:pt x="1228725" y="64770"/>
                </a:lnTo>
                <a:close/>
              </a:path>
              <a:path w="1685289" h="352425">
                <a:moveTo>
                  <a:pt x="1099312" y="29210"/>
                </a:moveTo>
                <a:lnTo>
                  <a:pt x="1095375" y="47751"/>
                </a:lnTo>
                <a:lnTo>
                  <a:pt x="1116965" y="52450"/>
                </a:lnTo>
                <a:lnTo>
                  <a:pt x="1168781" y="66039"/>
                </a:lnTo>
                <a:lnTo>
                  <a:pt x="1173734" y="47625"/>
                </a:lnTo>
                <a:lnTo>
                  <a:pt x="1121918" y="34036"/>
                </a:lnTo>
                <a:lnTo>
                  <a:pt x="1099312" y="29210"/>
                </a:lnTo>
                <a:close/>
              </a:path>
              <a:path w="1685289" h="352425">
                <a:moveTo>
                  <a:pt x="966978" y="7365"/>
                </a:moveTo>
                <a:lnTo>
                  <a:pt x="964692" y="26288"/>
                </a:lnTo>
                <a:lnTo>
                  <a:pt x="1005459" y="31114"/>
                </a:lnTo>
                <a:lnTo>
                  <a:pt x="1039749" y="36957"/>
                </a:lnTo>
                <a:lnTo>
                  <a:pt x="1042797" y="18161"/>
                </a:lnTo>
                <a:lnTo>
                  <a:pt x="1008634" y="12446"/>
                </a:lnTo>
                <a:lnTo>
                  <a:pt x="966978" y="7365"/>
                </a:lnTo>
                <a:close/>
              </a:path>
              <a:path w="1685289" h="352425">
                <a:moveTo>
                  <a:pt x="837057" y="0"/>
                </a:moveTo>
                <a:lnTo>
                  <a:pt x="832612" y="0"/>
                </a:lnTo>
                <a:lnTo>
                  <a:pt x="832993" y="19050"/>
                </a:lnTo>
                <a:lnTo>
                  <a:pt x="836549" y="19050"/>
                </a:lnTo>
                <a:lnTo>
                  <a:pt x="892937" y="20447"/>
                </a:lnTo>
                <a:lnTo>
                  <a:pt x="908177" y="21462"/>
                </a:lnTo>
                <a:lnTo>
                  <a:pt x="909574" y="2539"/>
                </a:lnTo>
                <a:lnTo>
                  <a:pt x="894334" y="1397"/>
                </a:lnTo>
                <a:lnTo>
                  <a:pt x="837057" y="0"/>
                </a:lnTo>
                <a:close/>
              </a:path>
              <a:path w="1685289" h="352425">
                <a:moveTo>
                  <a:pt x="774954" y="1397"/>
                </a:moveTo>
                <a:lnTo>
                  <a:pt x="722884" y="4952"/>
                </a:lnTo>
                <a:lnTo>
                  <a:pt x="698627" y="7747"/>
                </a:lnTo>
                <a:lnTo>
                  <a:pt x="700786" y="26670"/>
                </a:lnTo>
                <a:lnTo>
                  <a:pt x="724281" y="24002"/>
                </a:lnTo>
                <a:lnTo>
                  <a:pt x="776224" y="20447"/>
                </a:lnTo>
                <a:lnTo>
                  <a:pt x="774954" y="1397"/>
                </a:lnTo>
                <a:close/>
              </a:path>
              <a:path w="1685289" h="352425">
                <a:moveTo>
                  <a:pt x="641604" y="15494"/>
                </a:moveTo>
                <a:lnTo>
                  <a:pt x="609854" y="20574"/>
                </a:lnTo>
                <a:lnTo>
                  <a:pt x="566293" y="29845"/>
                </a:lnTo>
                <a:lnTo>
                  <a:pt x="570230" y="48513"/>
                </a:lnTo>
                <a:lnTo>
                  <a:pt x="612902" y="39370"/>
                </a:lnTo>
                <a:lnTo>
                  <a:pt x="644652" y="34289"/>
                </a:lnTo>
                <a:lnTo>
                  <a:pt x="641604" y="15494"/>
                </a:lnTo>
                <a:close/>
              </a:path>
              <a:path w="1685289" h="352425">
                <a:moveTo>
                  <a:pt x="510413" y="43814"/>
                </a:moveTo>
                <a:lnTo>
                  <a:pt x="498602" y="46989"/>
                </a:lnTo>
                <a:lnTo>
                  <a:pt x="443992" y="64135"/>
                </a:lnTo>
                <a:lnTo>
                  <a:pt x="436753" y="66801"/>
                </a:lnTo>
                <a:lnTo>
                  <a:pt x="443357" y="84709"/>
                </a:lnTo>
                <a:lnTo>
                  <a:pt x="449707" y="82296"/>
                </a:lnTo>
                <a:lnTo>
                  <a:pt x="503555" y="65405"/>
                </a:lnTo>
                <a:lnTo>
                  <a:pt x="515239" y="62357"/>
                </a:lnTo>
                <a:lnTo>
                  <a:pt x="510413" y="43814"/>
                </a:lnTo>
                <a:close/>
              </a:path>
              <a:path w="1685289" h="352425">
                <a:moveTo>
                  <a:pt x="382905" y="86995"/>
                </a:moveTo>
                <a:lnTo>
                  <a:pt x="337185" y="106425"/>
                </a:lnTo>
                <a:lnTo>
                  <a:pt x="312928" y="118237"/>
                </a:lnTo>
                <a:lnTo>
                  <a:pt x="321183" y="135382"/>
                </a:lnTo>
                <a:lnTo>
                  <a:pt x="344678" y="123951"/>
                </a:lnTo>
                <a:lnTo>
                  <a:pt x="390398" y="104521"/>
                </a:lnTo>
                <a:lnTo>
                  <a:pt x="382905" y="86995"/>
                </a:lnTo>
                <a:close/>
              </a:path>
              <a:path w="1685289" h="352425">
                <a:moveTo>
                  <a:pt x="261620" y="144525"/>
                </a:moveTo>
                <a:lnTo>
                  <a:pt x="234442" y="159385"/>
                </a:lnTo>
                <a:lnTo>
                  <a:pt x="195580" y="183387"/>
                </a:lnTo>
                <a:lnTo>
                  <a:pt x="205486" y="199517"/>
                </a:lnTo>
                <a:lnTo>
                  <a:pt x="243586" y="176149"/>
                </a:lnTo>
                <a:lnTo>
                  <a:pt x="270764" y="161289"/>
                </a:lnTo>
                <a:lnTo>
                  <a:pt x="261620" y="144525"/>
                </a:lnTo>
                <a:close/>
              </a:path>
              <a:path w="1685289" h="352425">
                <a:moveTo>
                  <a:pt x="147574" y="215392"/>
                </a:moveTo>
                <a:lnTo>
                  <a:pt x="136398" y="223138"/>
                </a:lnTo>
                <a:lnTo>
                  <a:pt x="89408" y="258952"/>
                </a:lnTo>
                <a:lnTo>
                  <a:pt x="85979" y="261747"/>
                </a:lnTo>
                <a:lnTo>
                  <a:pt x="98298" y="276225"/>
                </a:lnTo>
                <a:lnTo>
                  <a:pt x="100837" y="274065"/>
                </a:lnTo>
                <a:lnTo>
                  <a:pt x="147193" y="238760"/>
                </a:lnTo>
                <a:lnTo>
                  <a:pt x="158369" y="231139"/>
                </a:lnTo>
                <a:lnTo>
                  <a:pt x="147574" y="215392"/>
                </a:lnTo>
                <a:close/>
              </a:path>
              <a:path w="1685289" h="352425">
                <a:moveTo>
                  <a:pt x="42037" y="299085"/>
                </a:moveTo>
                <a:lnTo>
                  <a:pt x="0" y="338582"/>
                </a:lnTo>
                <a:lnTo>
                  <a:pt x="13081" y="352425"/>
                </a:lnTo>
                <a:lnTo>
                  <a:pt x="55118" y="313055"/>
                </a:lnTo>
                <a:lnTo>
                  <a:pt x="42037" y="299085"/>
                </a:lnTo>
                <a:close/>
              </a:path>
            </a:pathLst>
          </a:custGeom>
          <a:solidFill>
            <a:srgbClr val="A6A6A6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46" name="object 40">
            <a:extLst>
              <a:ext uri="{FF2B5EF4-FFF2-40B4-BE49-F238E27FC236}">
                <a16:creationId xmlns:a16="http://schemas.microsoft.com/office/drawing/2014/main" id="{590ACCD0-44AA-448B-9CAA-5A5F105F43A0}"/>
              </a:ext>
            </a:extLst>
          </p:cNvPr>
          <p:cNvSpPr/>
          <p:nvPr/>
        </p:nvSpPr>
        <p:spPr>
          <a:xfrm>
            <a:off x="576287" y="2295005"/>
            <a:ext cx="460533" cy="425524"/>
          </a:xfrm>
          <a:prstGeom prst="rect">
            <a:avLst/>
          </a:prstGeom>
          <a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47" name="Freeform 134">
            <a:extLst>
              <a:ext uri="{FF2B5EF4-FFF2-40B4-BE49-F238E27FC236}">
                <a16:creationId xmlns:a16="http://schemas.microsoft.com/office/drawing/2014/main" id="{9429B3B8-6AC8-415B-B42D-7045E0216DA6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27443" y="2371377"/>
            <a:ext cx="157003" cy="173892"/>
          </a:xfrm>
          <a:custGeom>
            <a:avLst/>
            <a:gdLst>
              <a:gd name="T0" fmla="*/ 256 w 512"/>
              <a:gd name="T1" fmla="*/ 128 h 512"/>
              <a:gd name="T2" fmla="*/ 234 w 512"/>
              <a:gd name="T3" fmla="*/ 128 h 512"/>
              <a:gd name="T4" fmla="*/ 234 w 512"/>
              <a:gd name="T5" fmla="*/ 117 h 512"/>
              <a:gd name="T6" fmla="*/ 256 w 512"/>
              <a:gd name="T7" fmla="*/ 117 h 512"/>
              <a:gd name="T8" fmla="*/ 256 w 512"/>
              <a:gd name="T9" fmla="*/ 128 h 512"/>
              <a:gd name="T10" fmla="*/ 192 w 512"/>
              <a:gd name="T11" fmla="*/ 164 h 512"/>
              <a:gd name="T12" fmla="*/ 149 w 512"/>
              <a:gd name="T13" fmla="*/ 180 h 512"/>
              <a:gd name="T14" fmla="*/ 149 w 512"/>
              <a:gd name="T15" fmla="*/ 192 h 512"/>
              <a:gd name="T16" fmla="*/ 298 w 512"/>
              <a:gd name="T17" fmla="*/ 192 h 512"/>
              <a:gd name="T18" fmla="*/ 298 w 512"/>
              <a:gd name="T19" fmla="*/ 149 h 512"/>
              <a:gd name="T20" fmla="*/ 201 w 512"/>
              <a:gd name="T21" fmla="*/ 149 h 512"/>
              <a:gd name="T22" fmla="*/ 192 w 512"/>
              <a:gd name="T23" fmla="*/ 164 h 512"/>
              <a:gd name="T24" fmla="*/ 234 w 512"/>
              <a:gd name="T25" fmla="*/ 394 h 512"/>
              <a:gd name="T26" fmla="*/ 256 w 512"/>
              <a:gd name="T27" fmla="*/ 394 h 512"/>
              <a:gd name="T28" fmla="*/ 256 w 512"/>
              <a:gd name="T29" fmla="*/ 213 h 512"/>
              <a:gd name="T30" fmla="*/ 234 w 512"/>
              <a:gd name="T31" fmla="*/ 213 h 512"/>
              <a:gd name="T32" fmla="*/ 234 w 512"/>
              <a:gd name="T33" fmla="*/ 394 h 512"/>
              <a:gd name="T34" fmla="*/ 512 w 512"/>
              <a:gd name="T35" fmla="*/ 256 h 512"/>
              <a:gd name="T36" fmla="*/ 256 w 512"/>
              <a:gd name="T37" fmla="*/ 512 h 512"/>
              <a:gd name="T38" fmla="*/ 0 w 512"/>
              <a:gd name="T39" fmla="*/ 256 h 512"/>
              <a:gd name="T40" fmla="*/ 256 w 512"/>
              <a:gd name="T41" fmla="*/ 0 h 512"/>
              <a:gd name="T42" fmla="*/ 512 w 512"/>
              <a:gd name="T43" fmla="*/ 256 h 512"/>
              <a:gd name="T44" fmla="*/ 373 w 512"/>
              <a:gd name="T45" fmla="*/ 117 h 512"/>
              <a:gd name="T46" fmla="*/ 362 w 512"/>
              <a:gd name="T47" fmla="*/ 106 h 512"/>
              <a:gd name="T48" fmla="*/ 320 w 512"/>
              <a:gd name="T49" fmla="*/ 106 h 512"/>
              <a:gd name="T50" fmla="*/ 309 w 512"/>
              <a:gd name="T51" fmla="*/ 117 h 512"/>
              <a:gd name="T52" fmla="*/ 309 w 512"/>
              <a:gd name="T53" fmla="*/ 128 h 512"/>
              <a:gd name="T54" fmla="*/ 277 w 512"/>
              <a:gd name="T55" fmla="*/ 128 h 512"/>
              <a:gd name="T56" fmla="*/ 277 w 512"/>
              <a:gd name="T57" fmla="*/ 106 h 512"/>
              <a:gd name="T58" fmla="*/ 266 w 512"/>
              <a:gd name="T59" fmla="*/ 96 h 512"/>
              <a:gd name="T60" fmla="*/ 224 w 512"/>
              <a:gd name="T61" fmla="*/ 96 h 512"/>
              <a:gd name="T62" fmla="*/ 213 w 512"/>
              <a:gd name="T63" fmla="*/ 106 h 512"/>
              <a:gd name="T64" fmla="*/ 213 w 512"/>
              <a:gd name="T65" fmla="*/ 128 h 512"/>
              <a:gd name="T66" fmla="*/ 192 w 512"/>
              <a:gd name="T67" fmla="*/ 128 h 512"/>
              <a:gd name="T68" fmla="*/ 181 w 512"/>
              <a:gd name="T69" fmla="*/ 138 h 512"/>
              <a:gd name="T70" fmla="*/ 177 w 512"/>
              <a:gd name="T71" fmla="*/ 149 h 512"/>
              <a:gd name="T72" fmla="*/ 138 w 512"/>
              <a:gd name="T73" fmla="*/ 160 h 512"/>
              <a:gd name="T74" fmla="*/ 131 w 512"/>
              <a:gd name="T75" fmla="*/ 163 h 512"/>
              <a:gd name="T76" fmla="*/ 128 w 512"/>
              <a:gd name="T77" fmla="*/ 170 h 512"/>
              <a:gd name="T78" fmla="*/ 128 w 512"/>
              <a:gd name="T79" fmla="*/ 202 h 512"/>
              <a:gd name="T80" fmla="*/ 138 w 512"/>
              <a:gd name="T81" fmla="*/ 213 h 512"/>
              <a:gd name="T82" fmla="*/ 213 w 512"/>
              <a:gd name="T83" fmla="*/ 213 h 512"/>
              <a:gd name="T84" fmla="*/ 213 w 512"/>
              <a:gd name="T85" fmla="*/ 405 h 512"/>
              <a:gd name="T86" fmla="*/ 224 w 512"/>
              <a:gd name="T87" fmla="*/ 416 h 512"/>
              <a:gd name="T88" fmla="*/ 266 w 512"/>
              <a:gd name="T89" fmla="*/ 416 h 512"/>
              <a:gd name="T90" fmla="*/ 277 w 512"/>
              <a:gd name="T91" fmla="*/ 405 h 512"/>
              <a:gd name="T92" fmla="*/ 277 w 512"/>
              <a:gd name="T93" fmla="*/ 213 h 512"/>
              <a:gd name="T94" fmla="*/ 309 w 512"/>
              <a:gd name="T95" fmla="*/ 213 h 512"/>
              <a:gd name="T96" fmla="*/ 309 w 512"/>
              <a:gd name="T97" fmla="*/ 224 h 512"/>
              <a:gd name="T98" fmla="*/ 320 w 512"/>
              <a:gd name="T99" fmla="*/ 234 h 512"/>
              <a:gd name="T100" fmla="*/ 362 w 512"/>
              <a:gd name="T101" fmla="*/ 234 h 512"/>
              <a:gd name="T102" fmla="*/ 373 w 512"/>
              <a:gd name="T103" fmla="*/ 224 h 512"/>
              <a:gd name="T104" fmla="*/ 373 w 512"/>
              <a:gd name="T105" fmla="*/ 117 h 512"/>
              <a:gd name="T106" fmla="*/ 330 w 512"/>
              <a:gd name="T107" fmla="*/ 213 h 512"/>
              <a:gd name="T108" fmla="*/ 352 w 512"/>
              <a:gd name="T109" fmla="*/ 213 h 512"/>
              <a:gd name="T110" fmla="*/ 352 w 512"/>
              <a:gd name="T111" fmla="*/ 128 h 512"/>
              <a:gd name="T112" fmla="*/ 330 w 512"/>
              <a:gd name="T113" fmla="*/ 128 h 512"/>
              <a:gd name="T114" fmla="*/ 330 w 512"/>
              <a:gd name="T115" fmla="*/ 213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512" h="512">
                <a:moveTo>
                  <a:pt x="256" y="128"/>
                </a:moveTo>
                <a:cubicBezTo>
                  <a:pt x="234" y="128"/>
                  <a:pt x="234" y="128"/>
                  <a:pt x="234" y="128"/>
                </a:cubicBezTo>
                <a:cubicBezTo>
                  <a:pt x="234" y="117"/>
                  <a:pt x="234" y="117"/>
                  <a:pt x="234" y="117"/>
                </a:cubicBezTo>
                <a:cubicBezTo>
                  <a:pt x="256" y="117"/>
                  <a:pt x="256" y="117"/>
                  <a:pt x="256" y="117"/>
                </a:cubicBezTo>
                <a:lnTo>
                  <a:pt x="256" y="128"/>
                </a:lnTo>
                <a:close/>
                <a:moveTo>
                  <a:pt x="192" y="164"/>
                </a:moveTo>
                <a:cubicBezTo>
                  <a:pt x="180" y="176"/>
                  <a:pt x="161" y="179"/>
                  <a:pt x="149" y="180"/>
                </a:cubicBezTo>
                <a:cubicBezTo>
                  <a:pt x="149" y="192"/>
                  <a:pt x="149" y="192"/>
                  <a:pt x="149" y="192"/>
                </a:cubicBezTo>
                <a:cubicBezTo>
                  <a:pt x="298" y="192"/>
                  <a:pt x="298" y="192"/>
                  <a:pt x="298" y="192"/>
                </a:cubicBezTo>
                <a:cubicBezTo>
                  <a:pt x="298" y="149"/>
                  <a:pt x="298" y="149"/>
                  <a:pt x="298" y="149"/>
                </a:cubicBezTo>
                <a:cubicBezTo>
                  <a:pt x="201" y="149"/>
                  <a:pt x="201" y="149"/>
                  <a:pt x="201" y="149"/>
                </a:cubicBezTo>
                <a:cubicBezTo>
                  <a:pt x="199" y="155"/>
                  <a:pt x="196" y="160"/>
                  <a:pt x="192" y="164"/>
                </a:cubicBezTo>
                <a:close/>
                <a:moveTo>
                  <a:pt x="234" y="394"/>
                </a:moveTo>
                <a:cubicBezTo>
                  <a:pt x="256" y="394"/>
                  <a:pt x="256" y="394"/>
                  <a:pt x="256" y="394"/>
                </a:cubicBezTo>
                <a:cubicBezTo>
                  <a:pt x="256" y="213"/>
                  <a:pt x="256" y="213"/>
                  <a:pt x="256" y="213"/>
                </a:cubicBezTo>
                <a:cubicBezTo>
                  <a:pt x="234" y="213"/>
                  <a:pt x="234" y="213"/>
                  <a:pt x="234" y="213"/>
                </a:cubicBezTo>
                <a:lnTo>
                  <a:pt x="234" y="394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73" y="117"/>
                </a:moveTo>
                <a:cubicBezTo>
                  <a:pt x="373" y="111"/>
                  <a:pt x="368" y="106"/>
                  <a:pt x="362" y="106"/>
                </a:cubicBezTo>
                <a:cubicBezTo>
                  <a:pt x="320" y="106"/>
                  <a:pt x="320" y="106"/>
                  <a:pt x="320" y="106"/>
                </a:cubicBezTo>
                <a:cubicBezTo>
                  <a:pt x="314" y="106"/>
                  <a:pt x="309" y="111"/>
                  <a:pt x="309" y="117"/>
                </a:cubicBezTo>
                <a:cubicBezTo>
                  <a:pt x="309" y="128"/>
                  <a:pt x="309" y="128"/>
                  <a:pt x="309" y="128"/>
                </a:cubicBezTo>
                <a:cubicBezTo>
                  <a:pt x="277" y="128"/>
                  <a:pt x="277" y="128"/>
                  <a:pt x="277" y="128"/>
                </a:cubicBezTo>
                <a:cubicBezTo>
                  <a:pt x="277" y="106"/>
                  <a:pt x="277" y="106"/>
                  <a:pt x="277" y="106"/>
                </a:cubicBezTo>
                <a:cubicBezTo>
                  <a:pt x="277" y="100"/>
                  <a:pt x="272" y="96"/>
                  <a:pt x="266" y="96"/>
                </a:cubicBezTo>
                <a:cubicBezTo>
                  <a:pt x="224" y="96"/>
                  <a:pt x="224" y="96"/>
                  <a:pt x="224" y="96"/>
                </a:cubicBezTo>
                <a:cubicBezTo>
                  <a:pt x="218" y="96"/>
                  <a:pt x="213" y="100"/>
                  <a:pt x="213" y="106"/>
                </a:cubicBezTo>
                <a:cubicBezTo>
                  <a:pt x="213" y="128"/>
                  <a:pt x="213" y="128"/>
                  <a:pt x="213" y="128"/>
                </a:cubicBezTo>
                <a:cubicBezTo>
                  <a:pt x="192" y="128"/>
                  <a:pt x="192" y="128"/>
                  <a:pt x="192" y="128"/>
                </a:cubicBezTo>
                <a:cubicBezTo>
                  <a:pt x="186" y="128"/>
                  <a:pt x="181" y="132"/>
                  <a:pt x="181" y="138"/>
                </a:cubicBezTo>
                <a:cubicBezTo>
                  <a:pt x="181" y="143"/>
                  <a:pt x="180" y="146"/>
                  <a:pt x="177" y="149"/>
                </a:cubicBezTo>
                <a:cubicBezTo>
                  <a:pt x="167" y="158"/>
                  <a:pt x="146" y="160"/>
                  <a:pt x="138" y="160"/>
                </a:cubicBezTo>
                <a:cubicBezTo>
                  <a:pt x="136" y="160"/>
                  <a:pt x="133" y="161"/>
                  <a:pt x="131" y="163"/>
                </a:cubicBezTo>
                <a:cubicBezTo>
                  <a:pt x="129" y="165"/>
                  <a:pt x="128" y="167"/>
                  <a:pt x="128" y="170"/>
                </a:cubicBezTo>
                <a:cubicBezTo>
                  <a:pt x="128" y="202"/>
                  <a:pt x="128" y="202"/>
                  <a:pt x="128" y="202"/>
                </a:cubicBezTo>
                <a:cubicBezTo>
                  <a:pt x="128" y="208"/>
                  <a:pt x="132" y="213"/>
                  <a:pt x="138" y="213"/>
                </a:cubicBezTo>
                <a:cubicBezTo>
                  <a:pt x="213" y="213"/>
                  <a:pt x="213" y="213"/>
                  <a:pt x="213" y="213"/>
                </a:cubicBezTo>
                <a:cubicBezTo>
                  <a:pt x="213" y="405"/>
                  <a:pt x="213" y="405"/>
                  <a:pt x="213" y="405"/>
                </a:cubicBezTo>
                <a:cubicBezTo>
                  <a:pt x="213" y="411"/>
                  <a:pt x="218" y="416"/>
                  <a:pt x="224" y="416"/>
                </a:cubicBezTo>
                <a:cubicBezTo>
                  <a:pt x="266" y="416"/>
                  <a:pt x="266" y="416"/>
                  <a:pt x="266" y="416"/>
                </a:cubicBezTo>
                <a:cubicBezTo>
                  <a:pt x="272" y="416"/>
                  <a:pt x="277" y="411"/>
                  <a:pt x="277" y="405"/>
                </a:cubicBezTo>
                <a:cubicBezTo>
                  <a:pt x="277" y="213"/>
                  <a:pt x="277" y="213"/>
                  <a:pt x="277" y="213"/>
                </a:cubicBezTo>
                <a:cubicBezTo>
                  <a:pt x="309" y="213"/>
                  <a:pt x="309" y="213"/>
                  <a:pt x="309" y="213"/>
                </a:cubicBezTo>
                <a:cubicBezTo>
                  <a:pt x="309" y="224"/>
                  <a:pt x="309" y="224"/>
                  <a:pt x="309" y="224"/>
                </a:cubicBezTo>
                <a:cubicBezTo>
                  <a:pt x="309" y="230"/>
                  <a:pt x="314" y="234"/>
                  <a:pt x="320" y="234"/>
                </a:cubicBezTo>
                <a:cubicBezTo>
                  <a:pt x="362" y="234"/>
                  <a:pt x="362" y="234"/>
                  <a:pt x="362" y="234"/>
                </a:cubicBezTo>
                <a:cubicBezTo>
                  <a:pt x="368" y="234"/>
                  <a:pt x="373" y="230"/>
                  <a:pt x="373" y="224"/>
                </a:cubicBezTo>
                <a:lnTo>
                  <a:pt x="373" y="117"/>
                </a:lnTo>
                <a:close/>
                <a:moveTo>
                  <a:pt x="330" y="213"/>
                </a:moveTo>
                <a:cubicBezTo>
                  <a:pt x="352" y="213"/>
                  <a:pt x="352" y="213"/>
                  <a:pt x="352" y="213"/>
                </a:cubicBezTo>
                <a:cubicBezTo>
                  <a:pt x="352" y="128"/>
                  <a:pt x="352" y="128"/>
                  <a:pt x="352" y="128"/>
                </a:cubicBezTo>
                <a:cubicBezTo>
                  <a:pt x="330" y="128"/>
                  <a:pt x="330" y="128"/>
                  <a:pt x="330" y="128"/>
                </a:cubicBezTo>
                <a:lnTo>
                  <a:pt x="330" y="213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121446" tIns="60723" rIns="121446" bIns="60723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1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" name="object 65">
            <a:extLst>
              <a:ext uri="{FF2B5EF4-FFF2-40B4-BE49-F238E27FC236}">
                <a16:creationId xmlns:a16="http://schemas.microsoft.com/office/drawing/2014/main" id="{8C16D7B1-BDFB-4DD5-941C-97DE3DDBE1EA}"/>
              </a:ext>
            </a:extLst>
          </p:cNvPr>
          <p:cNvSpPr/>
          <p:nvPr/>
        </p:nvSpPr>
        <p:spPr>
          <a:xfrm rot="20929925">
            <a:off x="1056786" y="1643113"/>
            <a:ext cx="1615196" cy="240573"/>
          </a:xfrm>
          <a:custGeom>
            <a:avLst/>
            <a:gdLst/>
            <a:ahLst/>
            <a:cxnLst/>
            <a:rect l="l" t="t" r="r" b="b"/>
            <a:pathLst>
              <a:path w="1685289" h="352425">
                <a:moveTo>
                  <a:pt x="1621144" y="306764"/>
                </a:moveTo>
                <a:lnTo>
                  <a:pt x="1602486" y="327913"/>
                </a:lnTo>
                <a:lnTo>
                  <a:pt x="1684782" y="349758"/>
                </a:lnTo>
                <a:lnTo>
                  <a:pt x="1670790" y="315087"/>
                </a:lnTo>
                <a:lnTo>
                  <a:pt x="1631188" y="315087"/>
                </a:lnTo>
                <a:lnTo>
                  <a:pt x="1621144" y="306764"/>
                </a:lnTo>
                <a:close/>
              </a:path>
              <a:path w="1685289" h="352425">
                <a:moveTo>
                  <a:pt x="1633736" y="292491"/>
                </a:moveTo>
                <a:lnTo>
                  <a:pt x="1621144" y="306764"/>
                </a:lnTo>
                <a:lnTo>
                  <a:pt x="1631188" y="315087"/>
                </a:lnTo>
                <a:lnTo>
                  <a:pt x="1643380" y="300482"/>
                </a:lnTo>
                <a:lnTo>
                  <a:pt x="1633736" y="292491"/>
                </a:lnTo>
                <a:close/>
              </a:path>
              <a:path w="1685289" h="352425">
                <a:moveTo>
                  <a:pt x="1652905" y="270763"/>
                </a:moveTo>
                <a:lnTo>
                  <a:pt x="1633736" y="292491"/>
                </a:lnTo>
                <a:lnTo>
                  <a:pt x="1643380" y="300482"/>
                </a:lnTo>
                <a:lnTo>
                  <a:pt x="1631188" y="315087"/>
                </a:lnTo>
                <a:lnTo>
                  <a:pt x="1670790" y="315087"/>
                </a:lnTo>
                <a:lnTo>
                  <a:pt x="1652905" y="270763"/>
                </a:lnTo>
                <a:close/>
              </a:path>
              <a:path w="1685289" h="352425">
                <a:moveTo>
                  <a:pt x="1583689" y="252222"/>
                </a:moveTo>
                <a:lnTo>
                  <a:pt x="1572387" y="267588"/>
                </a:lnTo>
                <a:lnTo>
                  <a:pt x="1585976" y="277622"/>
                </a:lnTo>
                <a:lnTo>
                  <a:pt x="1621144" y="306764"/>
                </a:lnTo>
                <a:lnTo>
                  <a:pt x="1633736" y="292491"/>
                </a:lnTo>
                <a:lnTo>
                  <a:pt x="1598168" y="263017"/>
                </a:lnTo>
                <a:lnTo>
                  <a:pt x="1583689" y="252222"/>
                </a:lnTo>
                <a:close/>
              </a:path>
              <a:path w="1685289" h="352425">
                <a:moveTo>
                  <a:pt x="1472311" y="177292"/>
                </a:moveTo>
                <a:lnTo>
                  <a:pt x="1462532" y="193675"/>
                </a:lnTo>
                <a:lnTo>
                  <a:pt x="1488567" y="209296"/>
                </a:lnTo>
                <a:lnTo>
                  <a:pt x="1526286" y="234442"/>
                </a:lnTo>
                <a:lnTo>
                  <a:pt x="1536954" y="218694"/>
                </a:lnTo>
                <a:lnTo>
                  <a:pt x="1499108" y="193421"/>
                </a:lnTo>
                <a:lnTo>
                  <a:pt x="1472311" y="177292"/>
                </a:lnTo>
                <a:close/>
              </a:path>
              <a:path w="1685289" h="352425">
                <a:moveTo>
                  <a:pt x="1353693" y="114553"/>
                </a:moveTo>
                <a:lnTo>
                  <a:pt x="1345564" y="131825"/>
                </a:lnTo>
                <a:lnTo>
                  <a:pt x="1386586" y="151384"/>
                </a:lnTo>
                <a:lnTo>
                  <a:pt x="1413256" y="165608"/>
                </a:lnTo>
                <a:lnTo>
                  <a:pt x="1422273" y="148844"/>
                </a:lnTo>
                <a:lnTo>
                  <a:pt x="1395602" y="134493"/>
                </a:lnTo>
                <a:lnTo>
                  <a:pt x="1353693" y="114553"/>
                </a:lnTo>
                <a:close/>
              </a:path>
              <a:path w="1685289" h="352425">
                <a:moveTo>
                  <a:pt x="1228725" y="64770"/>
                </a:moveTo>
                <a:lnTo>
                  <a:pt x="1223010" y="82931"/>
                </a:lnTo>
                <a:lnTo>
                  <a:pt x="1226820" y="84200"/>
                </a:lnTo>
                <a:lnTo>
                  <a:pt x="1280922" y="103886"/>
                </a:lnTo>
                <a:lnTo>
                  <a:pt x="1293495" y="109220"/>
                </a:lnTo>
                <a:lnTo>
                  <a:pt x="1300861" y="91694"/>
                </a:lnTo>
                <a:lnTo>
                  <a:pt x="1288288" y="86360"/>
                </a:lnTo>
                <a:lnTo>
                  <a:pt x="1233424" y="66294"/>
                </a:lnTo>
                <a:lnTo>
                  <a:pt x="1228725" y="64770"/>
                </a:lnTo>
                <a:close/>
              </a:path>
              <a:path w="1685289" h="352425">
                <a:moveTo>
                  <a:pt x="1099312" y="29210"/>
                </a:moveTo>
                <a:lnTo>
                  <a:pt x="1095375" y="47751"/>
                </a:lnTo>
                <a:lnTo>
                  <a:pt x="1116965" y="52450"/>
                </a:lnTo>
                <a:lnTo>
                  <a:pt x="1168781" y="66039"/>
                </a:lnTo>
                <a:lnTo>
                  <a:pt x="1173734" y="47625"/>
                </a:lnTo>
                <a:lnTo>
                  <a:pt x="1121918" y="34036"/>
                </a:lnTo>
                <a:lnTo>
                  <a:pt x="1099312" y="29210"/>
                </a:lnTo>
                <a:close/>
              </a:path>
              <a:path w="1685289" h="352425">
                <a:moveTo>
                  <a:pt x="966978" y="7365"/>
                </a:moveTo>
                <a:lnTo>
                  <a:pt x="964692" y="26288"/>
                </a:lnTo>
                <a:lnTo>
                  <a:pt x="1005459" y="31114"/>
                </a:lnTo>
                <a:lnTo>
                  <a:pt x="1039749" y="36957"/>
                </a:lnTo>
                <a:lnTo>
                  <a:pt x="1042797" y="18161"/>
                </a:lnTo>
                <a:lnTo>
                  <a:pt x="1008634" y="12446"/>
                </a:lnTo>
                <a:lnTo>
                  <a:pt x="966978" y="7365"/>
                </a:lnTo>
                <a:close/>
              </a:path>
              <a:path w="1685289" h="352425">
                <a:moveTo>
                  <a:pt x="837057" y="0"/>
                </a:moveTo>
                <a:lnTo>
                  <a:pt x="832612" y="0"/>
                </a:lnTo>
                <a:lnTo>
                  <a:pt x="832993" y="19050"/>
                </a:lnTo>
                <a:lnTo>
                  <a:pt x="836549" y="19050"/>
                </a:lnTo>
                <a:lnTo>
                  <a:pt x="892937" y="20447"/>
                </a:lnTo>
                <a:lnTo>
                  <a:pt x="908177" y="21462"/>
                </a:lnTo>
                <a:lnTo>
                  <a:pt x="909574" y="2539"/>
                </a:lnTo>
                <a:lnTo>
                  <a:pt x="894334" y="1397"/>
                </a:lnTo>
                <a:lnTo>
                  <a:pt x="837057" y="0"/>
                </a:lnTo>
                <a:close/>
              </a:path>
              <a:path w="1685289" h="352425">
                <a:moveTo>
                  <a:pt x="774954" y="1397"/>
                </a:moveTo>
                <a:lnTo>
                  <a:pt x="722884" y="4952"/>
                </a:lnTo>
                <a:lnTo>
                  <a:pt x="698627" y="7747"/>
                </a:lnTo>
                <a:lnTo>
                  <a:pt x="700786" y="26670"/>
                </a:lnTo>
                <a:lnTo>
                  <a:pt x="724281" y="24002"/>
                </a:lnTo>
                <a:lnTo>
                  <a:pt x="776224" y="20447"/>
                </a:lnTo>
                <a:lnTo>
                  <a:pt x="774954" y="1397"/>
                </a:lnTo>
                <a:close/>
              </a:path>
              <a:path w="1685289" h="352425">
                <a:moveTo>
                  <a:pt x="641604" y="15494"/>
                </a:moveTo>
                <a:lnTo>
                  <a:pt x="609854" y="20574"/>
                </a:lnTo>
                <a:lnTo>
                  <a:pt x="566293" y="29845"/>
                </a:lnTo>
                <a:lnTo>
                  <a:pt x="570230" y="48513"/>
                </a:lnTo>
                <a:lnTo>
                  <a:pt x="612902" y="39370"/>
                </a:lnTo>
                <a:lnTo>
                  <a:pt x="644652" y="34289"/>
                </a:lnTo>
                <a:lnTo>
                  <a:pt x="641604" y="15494"/>
                </a:lnTo>
                <a:close/>
              </a:path>
              <a:path w="1685289" h="352425">
                <a:moveTo>
                  <a:pt x="510413" y="43814"/>
                </a:moveTo>
                <a:lnTo>
                  <a:pt x="498602" y="46989"/>
                </a:lnTo>
                <a:lnTo>
                  <a:pt x="443992" y="64135"/>
                </a:lnTo>
                <a:lnTo>
                  <a:pt x="436753" y="66801"/>
                </a:lnTo>
                <a:lnTo>
                  <a:pt x="443357" y="84709"/>
                </a:lnTo>
                <a:lnTo>
                  <a:pt x="449707" y="82296"/>
                </a:lnTo>
                <a:lnTo>
                  <a:pt x="503555" y="65405"/>
                </a:lnTo>
                <a:lnTo>
                  <a:pt x="515239" y="62357"/>
                </a:lnTo>
                <a:lnTo>
                  <a:pt x="510413" y="43814"/>
                </a:lnTo>
                <a:close/>
              </a:path>
              <a:path w="1685289" h="352425">
                <a:moveTo>
                  <a:pt x="382905" y="86995"/>
                </a:moveTo>
                <a:lnTo>
                  <a:pt x="337185" y="106425"/>
                </a:lnTo>
                <a:lnTo>
                  <a:pt x="312928" y="118237"/>
                </a:lnTo>
                <a:lnTo>
                  <a:pt x="321183" y="135382"/>
                </a:lnTo>
                <a:lnTo>
                  <a:pt x="344678" y="123951"/>
                </a:lnTo>
                <a:lnTo>
                  <a:pt x="390398" y="104521"/>
                </a:lnTo>
                <a:lnTo>
                  <a:pt x="382905" y="86995"/>
                </a:lnTo>
                <a:close/>
              </a:path>
              <a:path w="1685289" h="352425">
                <a:moveTo>
                  <a:pt x="261620" y="144525"/>
                </a:moveTo>
                <a:lnTo>
                  <a:pt x="234442" y="159385"/>
                </a:lnTo>
                <a:lnTo>
                  <a:pt x="195580" y="183387"/>
                </a:lnTo>
                <a:lnTo>
                  <a:pt x="205486" y="199517"/>
                </a:lnTo>
                <a:lnTo>
                  <a:pt x="243586" y="176149"/>
                </a:lnTo>
                <a:lnTo>
                  <a:pt x="270764" y="161289"/>
                </a:lnTo>
                <a:lnTo>
                  <a:pt x="261620" y="144525"/>
                </a:lnTo>
                <a:close/>
              </a:path>
              <a:path w="1685289" h="352425">
                <a:moveTo>
                  <a:pt x="147574" y="215392"/>
                </a:moveTo>
                <a:lnTo>
                  <a:pt x="136398" y="223138"/>
                </a:lnTo>
                <a:lnTo>
                  <a:pt x="89408" y="258952"/>
                </a:lnTo>
                <a:lnTo>
                  <a:pt x="85979" y="261747"/>
                </a:lnTo>
                <a:lnTo>
                  <a:pt x="98298" y="276225"/>
                </a:lnTo>
                <a:lnTo>
                  <a:pt x="100837" y="274065"/>
                </a:lnTo>
                <a:lnTo>
                  <a:pt x="147193" y="238760"/>
                </a:lnTo>
                <a:lnTo>
                  <a:pt x="158369" y="231139"/>
                </a:lnTo>
                <a:lnTo>
                  <a:pt x="147574" y="215392"/>
                </a:lnTo>
                <a:close/>
              </a:path>
              <a:path w="1685289" h="352425">
                <a:moveTo>
                  <a:pt x="42037" y="299085"/>
                </a:moveTo>
                <a:lnTo>
                  <a:pt x="0" y="338582"/>
                </a:lnTo>
                <a:lnTo>
                  <a:pt x="13081" y="352425"/>
                </a:lnTo>
                <a:lnTo>
                  <a:pt x="55118" y="313055"/>
                </a:lnTo>
                <a:lnTo>
                  <a:pt x="42037" y="299085"/>
                </a:lnTo>
                <a:close/>
              </a:path>
            </a:pathLst>
          </a:custGeom>
          <a:solidFill>
            <a:srgbClr val="A6A6A6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8F1AF45-88CD-443E-9DEA-CF87C97B64C7}"/>
              </a:ext>
            </a:extLst>
          </p:cNvPr>
          <p:cNvSpPr txBox="1"/>
          <p:nvPr/>
        </p:nvSpPr>
        <p:spPr>
          <a:xfrm>
            <a:off x="1073477" y="1343179"/>
            <a:ext cx="1150366" cy="1977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900" spc="-5" dirty="0">
                <a:solidFill>
                  <a:srgbClr val="000000"/>
                </a:solidFill>
                <a:latin typeface="Open Sans"/>
              </a:rPr>
              <a:t>Ikke-faglig innkjøpsbehov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58DA560-7E34-44DB-84E7-F276C28ED0E5}"/>
              </a:ext>
            </a:extLst>
          </p:cNvPr>
          <p:cNvSpPr txBox="1"/>
          <p:nvPr/>
        </p:nvSpPr>
        <p:spPr>
          <a:xfrm>
            <a:off x="1364790" y="2765109"/>
            <a:ext cx="1058086" cy="3610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 b="1" spc="-5" dirty="0">
                <a:solidFill>
                  <a:srgbClr val="000000"/>
                </a:solidFill>
                <a:latin typeface="Open Sans"/>
              </a:rPr>
              <a:t>Faglig</a:t>
            </a:r>
            <a:r>
              <a:rPr lang="nb-NO" sz="900" spc="-5" dirty="0">
                <a:solidFill>
                  <a:srgbClr val="000000"/>
                </a:solidFill>
                <a:latin typeface="Open Sans"/>
              </a:rPr>
              <a:t> </a:t>
            </a:r>
            <a:r>
              <a:rPr lang="nb-NO" sz="900" b="1" spc="-5" dirty="0">
                <a:solidFill>
                  <a:srgbClr val="000000"/>
                </a:solidFill>
                <a:latin typeface="Open Sans"/>
              </a:rPr>
              <a:t>innkjøpsbehov</a:t>
            </a:r>
          </a:p>
        </p:txBody>
      </p: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DA0FD5BE-61C5-4307-9BA2-A698941C1960}"/>
              </a:ext>
            </a:extLst>
          </p:cNvPr>
          <p:cNvGrpSpPr/>
          <p:nvPr/>
        </p:nvGrpSpPr>
        <p:grpSpPr>
          <a:xfrm>
            <a:off x="7721475" y="3174086"/>
            <a:ext cx="1391579" cy="1248063"/>
            <a:chOff x="2682578" y="3293298"/>
            <a:chExt cx="1360606" cy="1224343"/>
          </a:xfrm>
        </p:grpSpPr>
        <p:sp>
          <p:nvSpPr>
            <p:cNvPr id="105" name="object 17">
              <a:extLst>
                <a:ext uri="{FF2B5EF4-FFF2-40B4-BE49-F238E27FC236}">
                  <a16:creationId xmlns:a16="http://schemas.microsoft.com/office/drawing/2014/main" id="{FD70F499-3A8C-4D7D-AF22-1281072B5A74}"/>
                </a:ext>
              </a:extLst>
            </p:cNvPr>
            <p:cNvSpPr/>
            <p:nvPr/>
          </p:nvSpPr>
          <p:spPr>
            <a:xfrm>
              <a:off x="2751325" y="3356273"/>
              <a:ext cx="1041190" cy="1161368"/>
            </a:xfrm>
            <a:custGeom>
              <a:avLst/>
              <a:gdLst/>
              <a:ahLst/>
              <a:cxnLst/>
              <a:rect l="l" t="t" r="r" b="b"/>
              <a:pathLst>
                <a:path w="1259839" h="1405254">
                  <a:moveTo>
                    <a:pt x="556132" y="0"/>
                  </a:moveTo>
                  <a:lnTo>
                    <a:pt x="604293" y="1620"/>
                  </a:lnTo>
                  <a:lnTo>
                    <a:pt x="651582" y="6414"/>
                  </a:lnTo>
                  <a:lnTo>
                    <a:pt x="697894" y="14274"/>
                  </a:lnTo>
                  <a:lnTo>
                    <a:pt x="743124" y="25098"/>
                  </a:lnTo>
                  <a:lnTo>
                    <a:pt x="787169" y="38780"/>
                  </a:lnTo>
                  <a:lnTo>
                    <a:pt x="829923" y="55215"/>
                  </a:lnTo>
                  <a:lnTo>
                    <a:pt x="871281" y="74299"/>
                  </a:lnTo>
                  <a:lnTo>
                    <a:pt x="911140" y="95927"/>
                  </a:lnTo>
                  <a:lnTo>
                    <a:pt x="949394" y="119994"/>
                  </a:lnTo>
                  <a:lnTo>
                    <a:pt x="985938" y="146397"/>
                  </a:lnTo>
                  <a:lnTo>
                    <a:pt x="1020669" y="175029"/>
                  </a:lnTo>
                  <a:lnTo>
                    <a:pt x="1053480" y="205787"/>
                  </a:lnTo>
                  <a:lnTo>
                    <a:pt x="1084269" y="238566"/>
                  </a:lnTo>
                  <a:lnTo>
                    <a:pt x="1112929" y="273261"/>
                  </a:lnTo>
                  <a:lnTo>
                    <a:pt x="1139356" y="309767"/>
                  </a:lnTo>
                  <a:lnTo>
                    <a:pt x="1163447" y="347980"/>
                  </a:lnTo>
                  <a:lnTo>
                    <a:pt x="1185094" y="387794"/>
                  </a:lnTo>
                  <a:lnTo>
                    <a:pt x="1204196" y="429107"/>
                  </a:lnTo>
                  <a:lnTo>
                    <a:pt x="1220645" y="471812"/>
                  </a:lnTo>
                  <a:lnTo>
                    <a:pt x="1234339" y="515805"/>
                  </a:lnTo>
                  <a:lnTo>
                    <a:pt x="1245172" y="560981"/>
                  </a:lnTo>
                  <a:lnTo>
                    <a:pt x="1253039" y="607236"/>
                  </a:lnTo>
                  <a:lnTo>
                    <a:pt x="1257836" y="654465"/>
                  </a:lnTo>
                  <a:lnTo>
                    <a:pt x="1259459" y="702563"/>
                  </a:lnTo>
                  <a:lnTo>
                    <a:pt x="1257836" y="750662"/>
                  </a:lnTo>
                  <a:lnTo>
                    <a:pt x="1253039" y="797891"/>
                  </a:lnTo>
                  <a:lnTo>
                    <a:pt x="1245172" y="844146"/>
                  </a:lnTo>
                  <a:lnTo>
                    <a:pt x="1234339" y="889322"/>
                  </a:lnTo>
                  <a:lnTo>
                    <a:pt x="1220645" y="933315"/>
                  </a:lnTo>
                  <a:lnTo>
                    <a:pt x="1204196" y="976020"/>
                  </a:lnTo>
                  <a:lnTo>
                    <a:pt x="1185094" y="1017333"/>
                  </a:lnTo>
                  <a:lnTo>
                    <a:pt x="1163447" y="1057147"/>
                  </a:lnTo>
                  <a:lnTo>
                    <a:pt x="1139356" y="1095360"/>
                  </a:lnTo>
                  <a:lnTo>
                    <a:pt x="1112929" y="1131866"/>
                  </a:lnTo>
                  <a:lnTo>
                    <a:pt x="1084269" y="1166561"/>
                  </a:lnTo>
                  <a:lnTo>
                    <a:pt x="1053480" y="1199340"/>
                  </a:lnTo>
                  <a:lnTo>
                    <a:pt x="1020669" y="1230098"/>
                  </a:lnTo>
                  <a:lnTo>
                    <a:pt x="985938" y="1258730"/>
                  </a:lnTo>
                  <a:lnTo>
                    <a:pt x="949394" y="1285133"/>
                  </a:lnTo>
                  <a:lnTo>
                    <a:pt x="911140" y="1309200"/>
                  </a:lnTo>
                  <a:lnTo>
                    <a:pt x="871281" y="1330828"/>
                  </a:lnTo>
                  <a:lnTo>
                    <a:pt x="829923" y="1349912"/>
                  </a:lnTo>
                  <a:lnTo>
                    <a:pt x="787169" y="1366347"/>
                  </a:lnTo>
                  <a:lnTo>
                    <a:pt x="743124" y="1380029"/>
                  </a:lnTo>
                  <a:lnTo>
                    <a:pt x="697894" y="1390853"/>
                  </a:lnTo>
                  <a:lnTo>
                    <a:pt x="651582" y="1398713"/>
                  </a:lnTo>
                  <a:lnTo>
                    <a:pt x="604293" y="1403507"/>
                  </a:lnTo>
                  <a:lnTo>
                    <a:pt x="556132" y="1405128"/>
                  </a:lnTo>
                  <a:lnTo>
                    <a:pt x="506172" y="1403355"/>
                  </a:lnTo>
                  <a:lnTo>
                    <a:pt x="456808" y="1398092"/>
                  </a:lnTo>
                  <a:lnTo>
                    <a:pt x="408205" y="1389418"/>
                  </a:lnTo>
                  <a:lnTo>
                    <a:pt x="360525" y="1377414"/>
                  </a:lnTo>
                  <a:lnTo>
                    <a:pt x="313933" y="1362159"/>
                  </a:lnTo>
                  <a:lnTo>
                    <a:pt x="268593" y="1343733"/>
                  </a:lnTo>
                  <a:lnTo>
                    <a:pt x="224667" y="1322217"/>
                  </a:lnTo>
                  <a:lnTo>
                    <a:pt x="182321" y="1297691"/>
                  </a:lnTo>
                  <a:lnTo>
                    <a:pt x="141717" y="1270235"/>
                  </a:lnTo>
                  <a:lnTo>
                    <a:pt x="103019" y="1239929"/>
                  </a:lnTo>
                  <a:lnTo>
                    <a:pt x="66391" y="1206853"/>
                  </a:lnTo>
                  <a:lnTo>
                    <a:pt x="31997" y="1171088"/>
                  </a:lnTo>
                  <a:lnTo>
                    <a:pt x="0" y="1132713"/>
                  </a:lnTo>
                </a:path>
              </a:pathLst>
            </a:custGeom>
            <a:ln w="15240">
              <a:solidFill>
                <a:schemeClr val="tx2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06" name="object 18">
              <a:extLst>
                <a:ext uri="{FF2B5EF4-FFF2-40B4-BE49-F238E27FC236}">
                  <a16:creationId xmlns:a16="http://schemas.microsoft.com/office/drawing/2014/main" id="{85444CEF-0D92-45E1-935E-39D69785A112}"/>
                </a:ext>
              </a:extLst>
            </p:cNvPr>
            <p:cNvSpPr/>
            <p:nvPr/>
          </p:nvSpPr>
          <p:spPr>
            <a:xfrm>
              <a:off x="2682578" y="3409172"/>
              <a:ext cx="1056934" cy="1055884"/>
            </a:xfrm>
            <a:custGeom>
              <a:avLst/>
              <a:gdLst/>
              <a:ahLst/>
              <a:cxnLst/>
              <a:rect l="l" t="t" r="r" b="b"/>
              <a:pathLst>
                <a:path w="1278889" h="1277620">
                  <a:moveTo>
                    <a:pt x="639317" y="0"/>
                  </a:moveTo>
                  <a:lnTo>
                    <a:pt x="687027" y="1751"/>
                  </a:lnTo>
                  <a:lnTo>
                    <a:pt x="733785" y="6923"/>
                  </a:lnTo>
                  <a:lnTo>
                    <a:pt x="779468" y="15392"/>
                  </a:lnTo>
                  <a:lnTo>
                    <a:pt x="823952" y="27034"/>
                  </a:lnTo>
                  <a:lnTo>
                    <a:pt x="867112" y="41727"/>
                  </a:lnTo>
                  <a:lnTo>
                    <a:pt x="908827" y="59346"/>
                  </a:lnTo>
                  <a:lnTo>
                    <a:pt x="948971" y="79769"/>
                  </a:lnTo>
                  <a:lnTo>
                    <a:pt x="987422" y="102871"/>
                  </a:lnTo>
                  <a:lnTo>
                    <a:pt x="1024055" y="128530"/>
                  </a:lnTo>
                  <a:lnTo>
                    <a:pt x="1058747" y="156622"/>
                  </a:lnTo>
                  <a:lnTo>
                    <a:pt x="1091374" y="187023"/>
                  </a:lnTo>
                  <a:lnTo>
                    <a:pt x="1121813" y="219610"/>
                  </a:lnTo>
                  <a:lnTo>
                    <a:pt x="1149940" y="254260"/>
                  </a:lnTo>
                  <a:lnTo>
                    <a:pt x="1175631" y="290849"/>
                  </a:lnTo>
                  <a:lnTo>
                    <a:pt x="1198763" y="329253"/>
                  </a:lnTo>
                  <a:lnTo>
                    <a:pt x="1219212" y="369350"/>
                  </a:lnTo>
                  <a:lnTo>
                    <a:pt x="1236854" y="411016"/>
                  </a:lnTo>
                  <a:lnTo>
                    <a:pt x="1251565" y="454127"/>
                  </a:lnTo>
                  <a:lnTo>
                    <a:pt x="1263223" y="498560"/>
                  </a:lnTo>
                  <a:lnTo>
                    <a:pt x="1271703" y="544191"/>
                  </a:lnTo>
                  <a:lnTo>
                    <a:pt x="1276882" y="590898"/>
                  </a:lnTo>
                  <a:lnTo>
                    <a:pt x="1278636" y="638555"/>
                  </a:lnTo>
                  <a:lnTo>
                    <a:pt x="1276882" y="686213"/>
                  </a:lnTo>
                  <a:lnTo>
                    <a:pt x="1271703" y="732920"/>
                  </a:lnTo>
                  <a:lnTo>
                    <a:pt x="1263223" y="778551"/>
                  </a:lnTo>
                  <a:lnTo>
                    <a:pt x="1251565" y="822984"/>
                  </a:lnTo>
                  <a:lnTo>
                    <a:pt x="1236854" y="866095"/>
                  </a:lnTo>
                  <a:lnTo>
                    <a:pt x="1219212" y="907761"/>
                  </a:lnTo>
                  <a:lnTo>
                    <a:pt x="1198763" y="947858"/>
                  </a:lnTo>
                  <a:lnTo>
                    <a:pt x="1175631" y="986262"/>
                  </a:lnTo>
                  <a:lnTo>
                    <a:pt x="1149940" y="1022851"/>
                  </a:lnTo>
                  <a:lnTo>
                    <a:pt x="1121813" y="1057501"/>
                  </a:lnTo>
                  <a:lnTo>
                    <a:pt x="1091374" y="1090088"/>
                  </a:lnTo>
                  <a:lnTo>
                    <a:pt x="1058747" y="1120489"/>
                  </a:lnTo>
                  <a:lnTo>
                    <a:pt x="1024055" y="1148581"/>
                  </a:lnTo>
                  <a:lnTo>
                    <a:pt x="987422" y="1174240"/>
                  </a:lnTo>
                  <a:lnTo>
                    <a:pt x="948971" y="1197342"/>
                  </a:lnTo>
                  <a:lnTo>
                    <a:pt x="908827" y="1217765"/>
                  </a:lnTo>
                  <a:lnTo>
                    <a:pt x="867112" y="1235384"/>
                  </a:lnTo>
                  <a:lnTo>
                    <a:pt x="823952" y="1250077"/>
                  </a:lnTo>
                  <a:lnTo>
                    <a:pt x="779468" y="1261719"/>
                  </a:lnTo>
                  <a:lnTo>
                    <a:pt x="733785" y="1270188"/>
                  </a:lnTo>
                  <a:lnTo>
                    <a:pt x="687027" y="1275360"/>
                  </a:lnTo>
                  <a:lnTo>
                    <a:pt x="639317" y="1277112"/>
                  </a:lnTo>
                  <a:lnTo>
                    <a:pt x="591608" y="1275360"/>
                  </a:lnTo>
                  <a:lnTo>
                    <a:pt x="544850" y="1270188"/>
                  </a:lnTo>
                  <a:lnTo>
                    <a:pt x="499167" y="1261719"/>
                  </a:lnTo>
                  <a:lnTo>
                    <a:pt x="454683" y="1250077"/>
                  </a:lnTo>
                  <a:lnTo>
                    <a:pt x="411523" y="1235384"/>
                  </a:lnTo>
                  <a:lnTo>
                    <a:pt x="369808" y="1217765"/>
                  </a:lnTo>
                  <a:lnTo>
                    <a:pt x="329664" y="1197342"/>
                  </a:lnTo>
                  <a:lnTo>
                    <a:pt x="291213" y="1174240"/>
                  </a:lnTo>
                  <a:lnTo>
                    <a:pt x="254580" y="1148581"/>
                  </a:lnTo>
                  <a:lnTo>
                    <a:pt x="219888" y="1120489"/>
                  </a:lnTo>
                  <a:lnTo>
                    <a:pt x="187261" y="1090088"/>
                  </a:lnTo>
                  <a:lnTo>
                    <a:pt x="156822" y="1057501"/>
                  </a:lnTo>
                  <a:lnTo>
                    <a:pt x="128695" y="1022851"/>
                  </a:lnTo>
                  <a:lnTo>
                    <a:pt x="103004" y="986262"/>
                  </a:lnTo>
                  <a:lnTo>
                    <a:pt x="79872" y="947858"/>
                  </a:lnTo>
                  <a:lnTo>
                    <a:pt x="59423" y="907761"/>
                  </a:lnTo>
                  <a:lnTo>
                    <a:pt x="41781" y="866095"/>
                  </a:lnTo>
                  <a:lnTo>
                    <a:pt x="27070" y="822984"/>
                  </a:lnTo>
                  <a:lnTo>
                    <a:pt x="15412" y="778551"/>
                  </a:lnTo>
                  <a:lnTo>
                    <a:pt x="6932" y="732920"/>
                  </a:lnTo>
                  <a:lnTo>
                    <a:pt x="1753" y="686213"/>
                  </a:lnTo>
                  <a:lnTo>
                    <a:pt x="0" y="638555"/>
                  </a:lnTo>
                  <a:lnTo>
                    <a:pt x="2217" y="585401"/>
                  </a:lnTo>
                  <a:lnTo>
                    <a:pt x="8812" y="532886"/>
                  </a:lnTo>
                  <a:lnTo>
                    <a:pt x="19696" y="481266"/>
                  </a:lnTo>
                  <a:lnTo>
                    <a:pt x="34782" y="430799"/>
                  </a:lnTo>
                  <a:lnTo>
                    <a:pt x="53981" y="381744"/>
                  </a:lnTo>
                  <a:lnTo>
                    <a:pt x="77206" y="334357"/>
                  </a:lnTo>
                  <a:lnTo>
                    <a:pt x="104368" y="288895"/>
                  </a:lnTo>
                  <a:lnTo>
                    <a:pt x="135382" y="245617"/>
                  </a:lnTo>
                </a:path>
              </a:pathLst>
            </a:custGeom>
            <a:ln w="15240">
              <a:solidFill>
                <a:schemeClr val="tx2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07" name="object 19">
              <a:extLst>
                <a:ext uri="{FF2B5EF4-FFF2-40B4-BE49-F238E27FC236}">
                  <a16:creationId xmlns:a16="http://schemas.microsoft.com/office/drawing/2014/main" id="{FB76CA50-8E8E-4FED-AF4C-B57069ADE8E4}"/>
                </a:ext>
              </a:extLst>
            </p:cNvPr>
            <p:cNvSpPr/>
            <p:nvPr/>
          </p:nvSpPr>
          <p:spPr>
            <a:xfrm>
              <a:off x="3215348" y="3293298"/>
              <a:ext cx="638674" cy="894773"/>
            </a:xfrm>
            <a:custGeom>
              <a:avLst/>
              <a:gdLst/>
              <a:ahLst/>
              <a:cxnLst/>
              <a:rect l="l" t="t" r="r" b="b"/>
              <a:pathLst>
                <a:path w="772795" h="1082675">
                  <a:moveTo>
                    <a:pt x="0" y="0"/>
                  </a:moveTo>
                  <a:lnTo>
                    <a:pt x="48863" y="1521"/>
                  </a:lnTo>
                  <a:lnTo>
                    <a:pt x="96919" y="6026"/>
                  </a:lnTo>
                  <a:lnTo>
                    <a:pt x="144077" y="13424"/>
                  </a:lnTo>
                  <a:lnTo>
                    <a:pt x="190246" y="23624"/>
                  </a:lnTo>
                  <a:lnTo>
                    <a:pt x="235337" y="36535"/>
                  </a:lnTo>
                  <a:lnTo>
                    <a:pt x="279258" y="52067"/>
                  </a:lnTo>
                  <a:lnTo>
                    <a:pt x="321919" y="70128"/>
                  </a:lnTo>
                  <a:lnTo>
                    <a:pt x="363229" y="90629"/>
                  </a:lnTo>
                  <a:lnTo>
                    <a:pt x="403098" y="113479"/>
                  </a:lnTo>
                  <a:lnTo>
                    <a:pt x="441436" y="138587"/>
                  </a:lnTo>
                  <a:lnTo>
                    <a:pt x="478151" y="165862"/>
                  </a:lnTo>
                  <a:lnTo>
                    <a:pt x="513154" y="195214"/>
                  </a:lnTo>
                  <a:lnTo>
                    <a:pt x="546354" y="226552"/>
                  </a:lnTo>
                  <a:lnTo>
                    <a:pt x="577659" y="259785"/>
                  </a:lnTo>
                  <a:lnTo>
                    <a:pt x="606981" y="294823"/>
                  </a:lnTo>
                  <a:lnTo>
                    <a:pt x="634228" y="331575"/>
                  </a:lnTo>
                  <a:lnTo>
                    <a:pt x="659309" y="369951"/>
                  </a:lnTo>
                  <a:lnTo>
                    <a:pt x="682135" y="409859"/>
                  </a:lnTo>
                  <a:lnTo>
                    <a:pt x="702614" y="451210"/>
                  </a:lnTo>
                  <a:lnTo>
                    <a:pt x="720657" y="493912"/>
                  </a:lnTo>
                  <a:lnTo>
                    <a:pt x="736172" y="537875"/>
                  </a:lnTo>
                  <a:lnTo>
                    <a:pt x="749069" y="583008"/>
                  </a:lnTo>
                  <a:lnTo>
                    <a:pt x="759257" y="629221"/>
                  </a:lnTo>
                  <a:lnTo>
                    <a:pt x="766647" y="676422"/>
                  </a:lnTo>
                  <a:lnTo>
                    <a:pt x="771147" y="724522"/>
                  </a:lnTo>
                  <a:lnTo>
                    <a:pt x="772668" y="773430"/>
                  </a:lnTo>
                  <a:lnTo>
                    <a:pt x="770853" y="826453"/>
                  </a:lnTo>
                  <a:lnTo>
                    <a:pt x="765433" y="879103"/>
                  </a:lnTo>
                  <a:lnTo>
                    <a:pt x="756443" y="931195"/>
                  </a:lnTo>
                  <a:lnTo>
                    <a:pt x="743918" y="982547"/>
                  </a:lnTo>
                  <a:lnTo>
                    <a:pt x="727894" y="1032974"/>
                  </a:lnTo>
                  <a:lnTo>
                    <a:pt x="708406" y="1082294"/>
                  </a:lnTo>
                </a:path>
              </a:pathLst>
            </a:custGeom>
            <a:ln w="15240">
              <a:solidFill>
                <a:schemeClr val="tx2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08" name="object 40">
              <a:extLst>
                <a:ext uri="{FF2B5EF4-FFF2-40B4-BE49-F238E27FC236}">
                  <a16:creationId xmlns:a16="http://schemas.microsoft.com/office/drawing/2014/main" id="{83599FFD-DE49-40C6-A03E-3FEC6821B67D}"/>
                </a:ext>
              </a:extLst>
            </p:cNvPr>
            <p:cNvSpPr/>
            <p:nvPr/>
          </p:nvSpPr>
          <p:spPr>
            <a:xfrm>
              <a:off x="2748701" y="3466480"/>
              <a:ext cx="934657" cy="934657"/>
            </a:xfrm>
            <a:custGeom>
              <a:avLst/>
              <a:gdLst/>
              <a:ahLst/>
              <a:cxnLst/>
              <a:rect l="l" t="t" r="r" b="b"/>
              <a:pathLst>
                <a:path w="1130935" h="1130935">
                  <a:moveTo>
                    <a:pt x="565403" y="0"/>
                  </a:moveTo>
                  <a:lnTo>
                    <a:pt x="516614" y="2075"/>
                  </a:lnTo>
                  <a:lnTo>
                    <a:pt x="468978" y="8187"/>
                  </a:lnTo>
                  <a:lnTo>
                    <a:pt x="422665" y="18167"/>
                  </a:lnTo>
                  <a:lnTo>
                    <a:pt x="377844" y="31845"/>
                  </a:lnTo>
                  <a:lnTo>
                    <a:pt x="334686" y="49051"/>
                  </a:lnTo>
                  <a:lnTo>
                    <a:pt x="293360" y="69615"/>
                  </a:lnTo>
                  <a:lnTo>
                    <a:pt x="254034" y="93369"/>
                  </a:lnTo>
                  <a:lnTo>
                    <a:pt x="216881" y="120142"/>
                  </a:lnTo>
                  <a:lnTo>
                    <a:pt x="182067" y="149765"/>
                  </a:lnTo>
                  <a:lnTo>
                    <a:pt x="149765" y="182067"/>
                  </a:lnTo>
                  <a:lnTo>
                    <a:pt x="120142" y="216881"/>
                  </a:lnTo>
                  <a:lnTo>
                    <a:pt x="93369" y="254034"/>
                  </a:lnTo>
                  <a:lnTo>
                    <a:pt x="69615" y="293360"/>
                  </a:lnTo>
                  <a:lnTo>
                    <a:pt x="49051" y="334686"/>
                  </a:lnTo>
                  <a:lnTo>
                    <a:pt x="31845" y="377844"/>
                  </a:lnTo>
                  <a:lnTo>
                    <a:pt x="18167" y="422665"/>
                  </a:lnTo>
                  <a:lnTo>
                    <a:pt x="8187" y="468978"/>
                  </a:lnTo>
                  <a:lnTo>
                    <a:pt x="2075" y="516614"/>
                  </a:lnTo>
                  <a:lnTo>
                    <a:pt x="0" y="565404"/>
                  </a:lnTo>
                  <a:lnTo>
                    <a:pt x="2075" y="614193"/>
                  </a:lnTo>
                  <a:lnTo>
                    <a:pt x="8187" y="661829"/>
                  </a:lnTo>
                  <a:lnTo>
                    <a:pt x="18167" y="708142"/>
                  </a:lnTo>
                  <a:lnTo>
                    <a:pt x="31845" y="752963"/>
                  </a:lnTo>
                  <a:lnTo>
                    <a:pt x="49051" y="796121"/>
                  </a:lnTo>
                  <a:lnTo>
                    <a:pt x="69615" y="837447"/>
                  </a:lnTo>
                  <a:lnTo>
                    <a:pt x="93369" y="876773"/>
                  </a:lnTo>
                  <a:lnTo>
                    <a:pt x="120142" y="913926"/>
                  </a:lnTo>
                  <a:lnTo>
                    <a:pt x="149765" y="948740"/>
                  </a:lnTo>
                  <a:lnTo>
                    <a:pt x="182067" y="981042"/>
                  </a:lnTo>
                  <a:lnTo>
                    <a:pt x="216881" y="1010665"/>
                  </a:lnTo>
                  <a:lnTo>
                    <a:pt x="254034" y="1037438"/>
                  </a:lnTo>
                  <a:lnTo>
                    <a:pt x="293360" y="1061192"/>
                  </a:lnTo>
                  <a:lnTo>
                    <a:pt x="334686" y="1081756"/>
                  </a:lnTo>
                  <a:lnTo>
                    <a:pt x="377844" y="1098962"/>
                  </a:lnTo>
                  <a:lnTo>
                    <a:pt x="422665" y="1112640"/>
                  </a:lnTo>
                  <a:lnTo>
                    <a:pt x="468978" y="1122620"/>
                  </a:lnTo>
                  <a:lnTo>
                    <a:pt x="516614" y="1128732"/>
                  </a:lnTo>
                  <a:lnTo>
                    <a:pt x="565403" y="1130808"/>
                  </a:lnTo>
                  <a:lnTo>
                    <a:pt x="614193" y="1128732"/>
                  </a:lnTo>
                  <a:lnTo>
                    <a:pt x="661829" y="1122620"/>
                  </a:lnTo>
                  <a:lnTo>
                    <a:pt x="708142" y="1112640"/>
                  </a:lnTo>
                  <a:lnTo>
                    <a:pt x="752963" y="1098962"/>
                  </a:lnTo>
                  <a:lnTo>
                    <a:pt x="796121" y="1081756"/>
                  </a:lnTo>
                  <a:lnTo>
                    <a:pt x="837447" y="1061192"/>
                  </a:lnTo>
                  <a:lnTo>
                    <a:pt x="876773" y="1037438"/>
                  </a:lnTo>
                  <a:lnTo>
                    <a:pt x="913926" y="1010665"/>
                  </a:lnTo>
                  <a:lnTo>
                    <a:pt x="948740" y="981042"/>
                  </a:lnTo>
                  <a:lnTo>
                    <a:pt x="981042" y="948740"/>
                  </a:lnTo>
                  <a:lnTo>
                    <a:pt x="1010665" y="913926"/>
                  </a:lnTo>
                  <a:lnTo>
                    <a:pt x="1037438" y="876773"/>
                  </a:lnTo>
                  <a:lnTo>
                    <a:pt x="1061192" y="837447"/>
                  </a:lnTo>
                  <a:lnTo>
                    <a:pt x="1081756" y="796121"/>
                  </a:lnTo>
                  <a:lnTo>
                    <a:pt x="1098962" y="752963"/>
                  </a:lnTo>
                  <a:lnTo>
                    <a:pt x="1112640" y="708142"/>
                  </a:lnTo>
                  <a:lnTo>
                    <a:pt x="1122620" y="661829"/>
                  </a:lnTo>
                  <a:lnTo>
                    <a:pt x="1128732" y="614193"/>
                  </a:lnTo>
                  <a:lnTo>
                    <a:pt x="1130807" y="565404"/>
                  </a:lnTo>
                  <a:lnTo>
                    <a:pt x="1128732" y="516614"/>
                  </a:lnTo>
                  <a:lnTo>
                    <a:pt x="1122620" y="468978"/>
                  </a:lnTo>
                  <a:lnTo>
                    <a:pt x="1112640" y="422665"/>
                  </a:lnTo>
                  <a:lnTo>
                    <a:pt x="1098962" y="377844"/>
                  </a:lnTo>
                  <a:lnTo>
                    <a:pt x="1081756" y="334686"/>
                  </a:lnTo>
                  <a:lnTo>
                    <a:pt x="1061192" y="293360"/>
                  </a:lnTo>
                  <a:lnTo>
                    <a:pt x="1037438" y="254034"/>
                  </a:lnTo>
                  <a:lnTo>
                    <a:pt x="1010665" y="216881"/>
                  </a:lnTo>
                  <a:lnTo>
                    <a:pt x="981042" y="182067"/>
                  </a:lnTo>
                  <a:lnTo>
                    <a:pt x="948740" y="149765"/>
                  </a:lnTo>
                  <a:lnTo>
                    <a:pt x="913926" y="120142"/>
                  </a:lnTo>
                  <a:lnTo>
                    <a:pt x="876773" y="93369"/>
                  </a:lnTo>
                  <a:lnTo>
                    <a:pt x="837447" y="69615"/>
                  </a:lnTo>
                  <a:lnTo>
                    <a:pt x="796121" y="49051"/>
                  </a:lnTo>
                  <a:lnTo>
                    <a:pt x="752963" y="31845"/>
                  </a:lnTo>
                  <a:lnTo>
                    <a:pt x="708142" y="18167"/>
                  </a:lnTo>
                  <a:lnTo>
                    <a:pt x="661829" y="8187"/>
                  </a:lnTo>
                  <a:lnTo>
                    <a:pt x="614193" y="2075"/>
                  </a:lnTo>
                  <a:lnTo>
                    <a:pt x="565403" y="0"/>
                  </a:lnTo>
                  <a:close/>
                </a:path>
              </a:pathLst>
            </a:custGeom>
            <a:solidFill>
              <a:srgbClr val="FFFFFF"/>
            </a:solidFill>
            <a:ln>
              <a:solidFill>
                <a:schemeClr val="tx2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09" name="object 41">
              <a:extLst>
                <a:ext uri="{FF2B5EF4-FFF2-40B4-BE49-F238E27FC236}">
                  <a16:creationId xmlns:a16="http://schemas.microsoft.com/office/drawing/2014/main" id="{0AC30CF0-F690-4468-967B-8403F51249B3}"/>
                </a:ext>
              </a:extLst>
            </p:cNvPr>
            <p:cNvSpPr/>
            <p:nvPr/>
          </p:nvSpPr>
          <p:spPr>
            <a:xfrm>
              <a:off x="2748701" y="3466480"/>
              <a:ext cx="934657" cy="934657"/>
            </a:xfrm>
            <a:custGeom>
              <a:avLst/>
              <a:gdLst/>
              <a:ahLst/>
              <a:cxnLst/>
              <a:rect l="l" t="t" r="r" b="b"/>
              <a:pathLst>
                <a:path w="1130935" h="1130935">
                  <a:moveTo>
                    <a:pt x="0" y="565404"/>
                  </a:moveTo>
                  <a:lnTo>
                    <a:pt x="2075" y="516614"/>
                  </a:lnTo>
                  <a:lnTo>
                    <a:pt x="8187" y="468978"/>
                  </a:lnTo>
                  <a:lnTo>
                    <a:pt x="18167" y="422665"/>
                  </a:lnTo>
                  <a:lnTo>
                    <a:pt x="31845" y="377844"/>
                  </a:lnTo>
                  <a:lnTo>
                    <a:pt x="49051" y="334686"/>
                  </a:lnTo>
                  <a:lnTo>
                    <a:pt x="69615" y="293360"/>
                  </a:lnTo>
                  <a:lnTo>
                    <a:pt x="93369" y="254034"/>
                  </a:lnTo>
                  <a:lnTo>
                    <a:pt x="120142" y="216881"/>
                  </a:lnTo>
                  <a:lnTo>
                    <a:pt x="149765" y="182067"/>
                  </a:lnTo>
                  <a:lnTo>
                    <a:pt x="182067" y="149765"/>
                  </a:lnTo>
                  <a:lnTo>
                    <a:pt x="216881" y="120142"/>
                  </a:lnTo>
                  <a:lnTo>
                    <a:pt x="254034" y="93369"/>
                  </a:lnTo>
                  <a:lnTo>
                    <a:pt x="293360" y="69615"/>
                  </a:lnTo>
                  <a:lnTo>
                    <a:pt x="334686" y="49051"/>
                  </a:lnTo>
                  <a:lnTo>
                    <a:pt x="377844" y="31845"/>
                  </a:lnTo>
                  <a:lnTo>
                    <a:pt x="422665" y="18167"/>
                  </a:lnTo>
                  <a:lnTo>
                    <a:pt x="468978" y="8187"/>
                  </a:lnTo>
                  <a:lnTo>
                    <a:pt x="516614" y="2075"/>
                  </a:lnTo>
                  <a:lnTo>
                    <a:pt x="565403" y="0"/>
                  </a:lnTo>
                  <a:lnTo>
                    <a:pt x="614193" y="2075"/>
                  </a:lnTo>
                  <a:lnTo>
                    <a:pt x="661829" y="8187"/>
                  </a:lnTo>
                  <a:lnTo>
                    <a:pt x="708142" y="18167"/>
                  </a:lnTo>
                  <a:lnTo>
                    <a:pt x="752963" y="31845"/>
                  </a:lnTo>
                  <a:lnTo>
                    <a:pt x="796121" y="49051"/>
                  </a:lnTo>
                  <a:lnTo>
                    <a:pt x="837447" y="69615"/>
                  </a:lnTo>
                  <a:lnTo>
                    <a:pt x="876773" y="93369"/>
                  </a:lnTo>
                  <a:lnTo>
                    <a:pt x="913926" y="120142"/>
                  </a:lnTo>
                  <a:lnTo>
                    <a:pt x="948740" y="149765"/>
                  </a:lnTo>
                  <a:lnTo>
                    <a:pt x="981042" y="182067"/>
                  </a:lnTo>
                  <a:lnTo>
                    <a:pt x="1010665" y="216881"/>
                  </a:lnTo>
                  <a:lnTo>
                    <a:pt x="1037438" y="254034"/>
                  </a:lnTo>
                  <a:lnTo>
                    <a:pt x="1061192" y="293360"/>
                  </a:lnTo>
                  <a:lnTo>
                    <a:pt x="1081756" y="334686"/>
                  </a:lnTo>
                  <a:lnTo>
                    <a:pt x="1098962" y="377844"/>
                  </a:lnTo>
                  <a:lnTo>
                    <a:pt x="1112640" y="422665"/>
                  </a:lnTo>
                  <a:lnTo>
                    <a:pt x="1122620" y="468978"/>
                  </a:lnTo>
                  <a:lnTo>
                    <a:pt x="1128732" y="516614"/>
                  </a:lnTo>
                  <a:lnTo>
                    <a:pt x="1130807" y="565404"/>
                  </a:lnTo>
                  <a:lnTo>
                    <a:pt x="1128732" y="614193"/>
                  </a:lnTo>
                  <a:lnTo>
                    <a:pt x="1122620" y="661829"/>
                  </a:lnTo>
                  <a:lnTo>
                    <a:pt x="1112640" y="708142"/>
                  </a:lnTo>
                  <a:lnTo>
                    <a:pt x="1098962" y="752963"/>
                  </a:lnTo>
                  <a:lnTo>
                    <a:pt x="1081756" y="796121"/>
                  </a:lnTo>
                  <a:lnTo>
                    <a:pt x="1061192" y="837447"/>
                  </a:lnTo>
                  <a:lnTo>
                    <a:pt x="1037438" y="876773"/>
                  </a:lnTo>
                  <a:lnTo>
                    <a:pt x="1010665" y="913926"/>
                  </a:lnTo>
                  <a:lnTo>
                    <a:pt x="981042" y="948740"/>
                  </a:lnTo>
                  <a:lnTo>
                    <a:pt x="948740" y="981042"/>
                  </a:lnTo>
                  <a:lnTo>
                    <a:pt x="913926" y="1010665"/>
                  </a:lnTo>
                  <a:lnTo>
                    <a:pt x="876773" y="1037438"/>
                  </a:lnTo>
                  <a:lnTo>
                    <a:pt x="837447" y="1061192"/>
                  </a:lnTo>
                  <a:lnTo>
                    <a:pt x="796121" y="1081756"/>
                  </a:lnTo>
                  <a:lnTo>
                    <a:pt x="752963" y="1098962"/>
                  </a:lnTo>
                  <a:lnTo>
                    <a:pt x="708142" y="1112640"/>
                  </a:lnTo>
                  <a:lnTo>
                    <a:pt x="661829" y="1122620"/>
                  </a:lnTo>
                  <a:lnTo>
                    <a:pt x="614193" y="1128732"/>
                  </a:lnTo>
                  <a:lnTo>
                    <a:pt x="565403" y="1130808"/>
                  </a:lnTo>
                  <a:lnTo>
                    <a:pt x="516614" y="1128732"/>
                  </a:lnTo>
                  <a:lnTo>
                    <a:pt x="468978" y="1122620"/>
                  </a:lnTo>
                  <a:lnTo>
                    <a:pt x="422665" y="1112640"/>
                  </a:lnTo>
                  <a:lnTo>
                    <a:pt x="377844" y="1098962"/>
                  </a:lnTo>
                  <a:lnTo>
                    <a:pt x="334686" y="1081756"/>
                  </a:lnTo>
                  <a:lnTo>
                    <a:pt x="293360" y="1061192"/>
                  </a:lnTo>
                  <a:lnTo>
                    <a:pt x="254034" y="1037438"/>
                  </a:lnTo>
                  <a:lnTo>
                    <a:pt x="216881" y="1010665"/>
                  </a:lnTo>
                  <a:lnTo>
                    <a:pt x="182067" y="981042"/>
                  </a:lnTo>
                  <a:lnTo>
                    <a:pt x="149765" y="948740"/>
                  </a:lnTo>
                  <a:lnTo>
                    <a:pt x="120142" y="913926"/>
                  </a:lnTo>
                  <a:lnTo>
                    <a:pt x="93369" y="876773"/>
                  </a:lnTo>
                  <a:lnTo>
                    <a:pt x="69615" y="837447"/>
                  </a:lnTo>
                  <a:lnTo>
                    <a:pt x="49051" y="796121"/>
                  </a:lnTo>
                  <a:lnTo>
                    <a:pt x="31845" y="752963"/>
                  </a:lnTo>
                  <a:lnTo>
                    <a:pt x="18167" y="708142"/>
                  </a:lnTo>
                  <a:lnTo>
                    <a:pt x="8187" y="661829"/>
                  </a:lnTo>
                  <a:lnTo>
                    <a:pt x="2075" y="614193"/>
                  </a:lnTo>
                  <a:lnTo>
                    <a:pt x="0" y="565404"/>
                  </a:lnTo>
                  <a:close/>
                </a:path>
              </a:pathLst>
            </a:custGeom>
            <a:ln w="15240">
              <a:solidFill>
                <a:schemeClr val="tx2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11" name="object 69">
              <a:extLst>
                <a:ext uri="{FF2B5EF4-FFF2-40B4-BE49-F238E27FC236}">
                  <a16:creationId xmlns:a16="http://schemas.microsoft.com/office/drawing/2014/main" id="{31F08C77-7E71-4E35-AFA5-DF73BE1CACB5}"/>
                </a:ext>
              </a:extLst>
            </p:cNvPr>
            <p:cNvSpPr/>
            <p:nvPr/>
          </p:nvSpPr>
          <p:spPr>
            <a:xfrm flipH="1">
              <a:off x="2907162" y="3834924"/>
              <a:ext cx="581679" cy="416122"/>
            </a:xfrm>
            <a:prstGeom prst="rect">
              <a:avLst/>
            </a:prstGeom>
            <a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a:blipFill>
            <a:ln>
              <a:noFill/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2F24AFC2-E444-469A-9E9D-2565EC418CD0}"/>
                </a:ext>
              </a:extLst>
            </p:cNvPr>
            <p:cNvSpPr txBox="1"/>
            <p:nvPr/>
          </p:nvSpPr>
          <p:spPr>
            <a:xfrm>
              <a:off x="2761036" y="3581025"/>
              <a:ext cx="1282148" cy="22644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D347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Fagrekvirent</a:t>
              </a:r>
              <a:endPara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D347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113" name="object 21">
            <a:extLst>
              <a:ext uri="{FF2B5EF4-FFF2-40B4-BE49-F238E27FC236}">
                <a16:creationId xmlns:a16="http://schemas.microsoft.com/office/drawing/2014/main" id="{C4A58E6D-9266-499D-8300-91C7DDE8E705}"/>
              </a:ext>
            </a:extLst>
          </p:cNvPr>
          <p:cNvSpPr txBox="1"/>
          <p:nvPr/>
        </p:nvSpPr>
        <p:spPr>
          <a:xfrm>
            <a:off x="7506985" y="4473177"/>
            <a:ext cx="1220312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lvl="0" indent="635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spc="-10" dirty="0" err="1">
                <a:solidFill>
                  <a:srgbClr val="000000"/>
                </a:solidFill>
                <a:latin typeface="Open Sans"/>
                <a:cs typeface="Verdana"/>
              </a:rPr>
              <a:t>Registrerer</a:t>
            </a:r>
            <a:r>
              <a:rPr lang="en-US" sz="900" spc="-10" dirty="0">
                <a:solidFill>
                  <a:srgbClr val="000000"/>
                </a:solidFill>
                <a:latin typeface="Open Sans"/>
                <a:cs typeface="Verdana"/>
              </a:rPr>
              <a:t> </a:t>
            </a:r>
            <a:r>
              <a:rPr lang="en-US" sz="900" spc="-10" dirty="0" err="1">
                <a:solidFill>
                  <a:srgbClr val="000000"/>
                </a:solidFill>
                <a:latin typeface="Open Sans"/>
                <a:cs typeface="Verdana"/>
              </a:rPr>
              <a:t>varemottak</a:t>
            </a:r>
            <a:r>
              <a:rPr lang="en-US" sz="900" spc="-10" dirty="0">
                <a:solidFill>
                  <a:srgbClr val="000000"/>
                </a:solidFill>
                <a:latin typeface="Open Sans"/>
                <a:cs typeface="Verdana"/>
              </a:rPr>
              <a:t> </a:t>
            </a:r>
            <a:r>
              <a:rPr lang="en-US" sz="900" spc="-10" dirty="0" err="1">
                <a:solidFill>
                  <a:srgbClr val="000000"/>
                </a:solidFill>
                <a:latin typeface="Open Sans"/>
                <a:cs typeface="Verdana"/>
              </a:rPr>
              <a:t>i</a:t>
            </a:r>
            <a:r>
              <a:rPr lang="en-US" sz="900" spc="-10" dirty="0">
                <a:solidFill>
                  <a:srgbClr val="000000"/>
                </a:solidFill>
                <a:latin typeface="Open Sans"/>
                <a:cs typeface="Verdana"/>
              </a:rPr>
              <a:t> Unit4 ERP</a:t>
            </a:r>
            <a:endParaRPr kumimoji="0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Verdana"/>
            </a:endParaRPr>
          </a:p>
        </p:txBody>
      </p:sp>
      <p:sp>
        <p:nvSpPr>
          <p:cNvPr id="114" name="object 65">
            <a:extLst>
              <a:ext uri="{FF2B5EF4-FFF2-40B4-BE49-F238E27FC236}">
                <a16:creationId xmlns:a16="http://schemas.microsoft.com/office/drawing/2014/main" id="{957324FB-339C-4249-8644-3655E83BB5C5}"/>
              </a:ext>
            </a:extLst>
          </p:cNvPr>
          <p:cNvSpPr/>
          <p:nvPr/>
        </p:nvSpPr>
        <p:spPr>
          <a:xfrm rot="6143377">
            <a:off x="7785112" y="2869250"/>
            <a:ext cx="871007" cy="79614"/>
          </a:xfrm>
          <a:custGeom>
            <a:avLst/>
            <a:gdLst/>
            <a:ahLst/>
            <a:cxnLst/>
            <a:rect l="l" t="t" r="r" b="b"/>
            <a:pathLst>
              <a:path w="1685289" h="352425">
                <a:moveTo>
                  <a:pt x="1621144" y="306764"/>
                </a:moveTo>
                <a:lnTo>
                  <a:pt x="1602486" y="327913"/>
                </a:lnTo>
                <a:lnTo>
                  <a:pt x="1684782" y="349758"/>
                </a:lnTo>
                <a:lnTo>
                  <a:pt x="1670790" y="315087"/>
                </a:lnTo>
                <a:lnTo>
                  <a:pt x="1631188" y="315087"/>
                </a:lnTo>
                <a:lnTo>
                  <a:pt x="1621144" y="306764"/>
                </a:lnTo>
                <a:close/>
              </a:path>
              <a:path w="1685289" h="352425">
                <a:moveTo>
                  <a:pt x="1633736" y="292491"/>
                </a:moveTo>
                <a:lnTo>
                  <a:pt x="1621144" y="306764"/>
                </a:lnTo>
                <a:lnTo>
                  <a:pt x="1631188" y="315087"/>
                </a:lnTo>
                <a:lnTo>
                  <a:pt x="1643380" y="300482"/>
                </a:lnTo>
                <a:lnTo>
                  <a:pt x="1633736" y="292491"/>
                </a:lnTo>
                <a:close/>
              </a:path>
              <a:path w="1685289" h="352425">
                <a:moveTo>
                  <a:pt x="1652905" y="270763"/>
                </a:moveTo>
                <a:lnTo>
                  <a:pt x="1633736" y="292491"/>
                </a:lnTo>
                <a:lnTo>
                  <a:pt x="1643380" y="300482"/>
                </a:lnTo>
                <a:lnTo>
                  <a:pt x="1631188" y="315087"/>
                </a:lnTo>
                <a:lnTo>
                  <a:pt x="1670790" y="315087"/>
                </a:lnTo>
                <a:lnTo>
                  <a:pt x="1652905" y="270763"/>
                </a:lnTo>
                <a:close/>
              </a:path>
              <a:path w="1685289" h="352425">
                <a:moveTo>
                  <a:pt x="1583689" y="252222"/>
                </a:moveTo>
                <a:lnTo>
                  <a:pt x="1572387" y="267588"/>
                </a:lnTo>
                <a:lnTo>
                  <a:pt x="1585976" y="277622"/>
                </a:lnTo>
                <a:lnTo>
                  <a:pt x="1621144" y="306764"/>
                </a:lnTo>
                <a:lnTo>
                  <a:pt x="1633736" y="292491"/>
                </a:lnTo>
                <a:lnTo>
                  <a:pt x="1598168" y="263017"/>
                </a:lnTo>
                <a:lnTo>
                  <a:pt x="1583689" y="252222"/>
                </a:lnTo>
                <a:close/>
              </a:path>
              <a:path w="1685289" h="352425">
                <a:moveTo>
                  <a:pt x="1472311" y="177292"/>
                </a:moveTo>
                <a:lnTo>
                  <a:pt x="1462532" y="193675"/>
                </a:lnTo>
                <a:lnTo>
                  <a:pt x="1488567" y="209296"/>
                </a:lnTo>
                <a:lnTo>
                  <a:pt x="1526286" y="234442"/>
                </a:lnTo>
                <a:lnTo>
                  <a:pt x="1536954" y="218694"/>
                </a:lnTo>
                <a:lnTo>
                  <a:pt x="1499108" y="193421"/>
                </a:lnTo>
                <a:lnTo>
                  <a:pt x="1472311" y="177292"/>
                </a:lnTo>
                <a:close/>
              </a:path>
              <a:path w="1685289" h="352425">
                <a:moveTo>
                  <a:pt x="1353693" y="114553"/>
                </a:moveTo>
                <a:lnTo>
                  <a:pt x="1345564" y="131825"/>
                </a:lnTo>
                <a:lnTo>
                  <a:pt x="1386586" y="151384"/>
                </a:lnTo>
                <a:lnTo>
                  <a:pt x="1413256" y="165608"/>
                </a:lnTo>
                <a:lnTo>
                  <a:pt x="1422273" y="148844"/>
                </a:lnTo>
                <a:lnTo>
                  <a:pt x="1395602" y="134493"/>
                </a:lnTo>
                <a:lnTo>
                  <a:pt x="1353693" y="114553"/>
                </a:lnTo>
                <a:close/>
              </a:path>
              <a:path w="1685289" h="352425">
                <a:moveTo>
                  <a:pt x="1228725" y="64770"/>
                </a:moveTo>
                <a:lnTo>
                  <a:pt x="1223010" y="82931"/>
                </a:lnTo>
                <a:lnTo>
                  <a:pt x="1226820" y="84200"/>
                </a:lnTo>
                <a:lnTo>
                  <a:pt x="1280922" y="103886"/>
                </a:lnTo>
                <a:lnTo>
                  <a:pt x="1293495" y="109220"/>
                </a:lnTo>
                <a:lnTo>
                  <a:pt x="1300861" y="91694"/>
                </a:lnTo>
                <a:lnTo>
                  <a:pt x="1288288" y="86360"/>
                </a:lnTo>
                <a:lnTo>
                  <a:pt x="1233424" y="66294"/>
                </a:lnTo>
                <a:lnTo>
                  <a:pt x="1228725" y="64770"/>
                </a:lnTo>
                <a:close/>
              </a:path>
              <a:path w="1685289" h="352425">
                <a:moveTo>
                  <a:pt x="1099312" y="29210"/>
                </a:moveTo>
                <a:lnTo>
                  <a:pt x="1095375" y="47751"/>
                </a:lnTo>
                <a:lnTo>
                  <a:pt x="1116965" y="52450"/>
                </a:lnTo>
                <a:lnTo>
                  <a:pt x="1168781" y="66039"/>
                </a:lnTo>
                <a:lnTo>
                  <a:pt x="1173734" y="47625"/>
                </a:lnTo>
                <a:lnTo>
                  <a:pt x="1121918" y="34036"/>
                </a:lnTo>
                <a:lnTo>
                  <a:pt x="1099312" y="29210"/>
                </a:lnTo>
                <a:close/>
              </a:path>
              <a:path w="1685289" h="352425">
                <a:moveTo>
                  <a:pt x="966978" y="7365"/>
                </a:moveTo>
                <a:lnTo>
                  <a:pt x="964692" y="26288"/>
                </a:lnTo>
                <a:lnTo>
                  <a:pt x="1005459" y="31114"/>
                </a:lnTo>
                <a:lnTo>
                  <a:pt x="1039749" y="36957"/>
                </a:lnTo>
                <a:lnTo>
                  <a:pt x="1042797" y="18161"/>
                </a:lnTo>
                <a:lnTo>
                  <a:pt x="1008634" y="12446"/>
                </a:lnTo>
                <a:lnTo>
                  <a:pt x="966978" y="7365"/>
                </a:lnTo>
                <a:close/>
              </a:path>
              <a:path w="1685289" h="352425">
                <a:moveTo>
                  <a:pt x="837057" y="0"/>
                </a:moveTo>
                <a:lnTo>
                  <a:pt x="832612" y="0"/>
                </a:lnTo>
                <a:lnTo>
                  <a:pt x="832993" y="19050"/>
                </a:lnTo>
                <a:lnTo>
                  <a:pt x="836549" y="19050"/>
                </a:lnTo>
                <a:lnTo>
                  <a:pt x="892937" y="20447"/>
                </a:lnTo>
                <a:lnTo>
                  <a:pt x="908177" y="21462"/>
                </a:lnTo>
                <a:lnTo>
                  <a:pt x="909574" y="2539"/>
                </a:lnTo>
                <a:lnTo>
                  <a:pt x="894334" y="1397"/>
                </a:lnTo>
                <a:lnTo>
                  <a:pt x="837057" y="0"/>
                </a:lnTo>
                <a:close/>
              </a:path>
              <a:path w="1685289" h="352425">
                <a:moveTo>
                  <a:pt x="774954" y="1397"/>
                </a:moveTo>
                <a:lnTo>
                  <a:pt x="722884" y="4952"/>
                </a:lnTo>
                <a:lnTo>
                  <a:pt x="698627" y="7747"/>
                </a:lnTo>
                <a:lnTo>
                  <a:pt x="700786" y="26670"/>
                </a:lnTo>
                <a:lnTo>
                  <a:pt x="724281" y="24002"/>
                </a:lnTo>
                <a:lnTo>
                  <a:pt x="776224" y="20447"/>
                </a:lnTo>
                <a:lnTo>
                  <a:pt x="774954" y="1397"/>
                </a:lnTo>
                <a:close/>
              </a:path>
              <a:path w="1685289" h="352425">
                <a:moveTo>
                  <a:pt x="641604" y="15494"/>
                </a:moveTo>
                <a:lnTo>
                  <a:pt x="609854" y="20574"/>
                </a:lnTo>
                <a:lnTo>
                  <a:pt x="566293" y="29845"/>
                </a:lnTo>
                <a:lnTo>
                  <a:pt x="570230" y="48513"/>
                </a:lnTo>
                <a:lnTo>
                  <a:pt x="612902" y="39370"/>
                </a:lnTo>
                <a:lnTo>
                  <a:pt x="644652" y="34289"/>
                </a:lnTo>
                <a:lnTo>
                  <a:pt x="641604" y="15494"/>
                </a:lnTo>
                <a:close/>
              </a:path>
              <a:path w="1685289" h="352425">
                <a:moveTo>
                  <a:pt x="510413" y="43814"/>
                </a:moveTo>
                <a:lnTo>
                  <a:pt x="498602" y="46989"/>
                </a:lnTo>
                <a:lnTo>
                  <a:pt x="443992" y="64135"/>
                </a:lnTo>
                <a:lnTo>
                  <a:pt x="436753" y="66801"/>
                </a:lnTo>
                <a:lnTo>
                  <a:pt x="443357" y="84709"/>
                </a:lnTo>
                <a:lnTo>
                  <a:pt x="449707" y="82296"/>
                </a:lnTo>
                <a:lnTo>
                  <a:pt x="503555" y="65405"/>
                </a:lnTo>
                <a:lnTo>
                  <a:pt x="515239" y="62357"/>
                </a:lnTo>
                <a:lnTo>
                  <a:pt x="510413" y="43814"/>
                </a:lnTo>
                <a:close/>
              </a:path>
              <a:path w="1685289" h="352425">
                <a:moveTo>
                  <a:pt x="382905" y="86995"/>
                </a:moveTo>
                <a:lnTo>
                  <a:pt x="337185" y="106425"/>
                </a:lnTo>
                <a:lnTo>
                  <a:pt x="312928" y="118237"/>
                </a:lnTo>
                <a:lnTo>
                  <a:pt x="321183" y="135382"/>
                </a:lnTo>
                <a:lnTo>
                  <a:pt x="344678" y="123951"/>
                </a:lnTo>
                <a:lnTo>
                  <a:pt x="390398" y="104521"/>
                </a:lnTo>
                <a:lnTo>
                  <a:pt x="382905" y="86995"/>
                </a:lnTo>
                <a:close/>
              </a:path>
              <a:path w="1685289" h="352425">
                <a:moveTo>
                  <a:pt x="261620" y="144525"/>
                </a:moveTo>
                <a:lnTo>
                  <a:pt x="234442" y="159385"/>
                </a:lnTo>
                <a:lnTo>
                  <a:pt x="195580" y="183387"/>
                </a:lnTo>
                <a:lnTo>
                  <a:pt x="205486" y="199517"/>
                </a:lnTo>
                <a:lnTo>
                  <a:pt x="243586" y="176149"/>
                </a:lnTo>
                <a:lnTo>
                  <a:pt x="270764" y="161289"/>
                </a:lnTo>
                <a:lnTo>
                  <a:pt x="261620" y="144525"/>
                </a:lnTo>
                <a:close/>
              </a:path>
              <a:path w="1685289" h="352425">
                <a:moveTo>
                  <a:pt x="147574" y="215392"/>
                </a:moveTo>
                <a:lnTo>
                  <a:pt x="136398" y="223138"/>
                </a:lnTo>
                <a:lnTo>
                  <a:pt x="89408" y="258952"/>
                </a:lnTo>
                <a:lnTo>
                  <a:pt x="85979" y="261747"/>
                </a:lnTo>
                <a:lnTo>
                  <a:pt x="98298" y="276225"/>
                </a:lnTo>
                <a:lnTo>
                  <a:pt x="100837" y="274065"/>
                </a:lnTo>
                <a:lnTo>
                  <a:pt x="147193" y="238760"/>
                </a:lnTo>
                <a:lnTo>
                  <a:pt x="158369" y="231139"/>
                </a:lnTo>
                <a:lnTo>
                  <a:pt x="147574" y="215392"/>
                </a:lnTo>
                <a:close/>
              </a:path>
              <a:path w="1685289" h="352425">
                <a:moveTo>
                  <a:pt x="42037" y="299085"/>
                </a:moveTo>
                <a:lnTo>
                  <a:pt x="0" y="338582"/>
                </a:lnTo>
                <a:lnTo>
                  <a:pt x="13081" y="352425"/>
                </a:lnTo>
                <a:lnTo>
                  <a:pt x="55118" y="313055"/>
                </a:lnTo>
                <a:lnTo>
                  <a:pt x="42037" y="299085"/>
                </a:lnTo>
                <a:close/>
              </a:path>
            </a:pathLst>
          </a:custGeom>
          <a:solidFill>
            <a:srgbClr val="A6A6A6"/>
          </a:solidFill>
          <a:ln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9974899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08507B-B635-459F-A068-46FB6277D25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54426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08507B-B635-459F-A068-46FB6277D2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F296D3C-4715-4969-A338-ACAF84AA6B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573" y="205979"/>
            <a:ext cx="8381997" cy="461665"/>
          </a:xfrm>
        </p:spPr>
        <p:txBody>
          <a:bodyPr vert="horz"/>
          <a:lstStyle/>
          <a:p>
            <a:r>
              <a:rPr lang="nb-NO" sz="2400" dirty="0"/>
              <a:t>Mer om å opprette innkjøpsforespørsel</a:t>
            </a:r>
          </a:p>
        </p:txBody>
      </p:sp>
      <p:sp>
        <p:nvSpPr>
          <p:cNvPr id="16" name="Plassholder for innhold 2">
            <a:extLst>
              <a:ext uri="{FF2B5EF4-FFF2-40B4-BE49-F238E27FC236}">
                <a16:creationId xmlns:a16="http://schemas.microsoft.com/office/drawing/2014/main" id="{DD8AC41D-936C-4FA2-ACC8-710260DFCE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6573" y="963725"/>
            <a:ext cx="7028543" cy="3216049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nb-NO" sz="1400" dirty="0"/>
              <a:t>Ved et innkjøpsbehov, opprettes en innkjøpsforespørsel i løsningen som skal attesteres og godkjennes før det blir sent en innkjøpsordre til leverandør.</a:t>
            </a:r>
            <a:br>
              <a:rPr lang="nb-NO" sz="1400" dirty="0"/>
            </a:br>
            <a:endParaRPr lang="nb-NO" sz="1400" dirty="0"/>
          </a:p>
          <a:p>
            <a:r>
              <a:rPr lang="nb-NO" sz="1400" dirty="0"/>
              <a:t>Ved opprettelse av innkjøpsforespørsel, må du som Fagrekvirent utføre følgende:</a:t>
            </a:r>
          </a:p>
          <a:p>
            <a:pPr lvl="1"/>
            <a:r>
              <a:rPr lang="nb-NO" sz="1200" dirty="0"/>
              <a:t>Velg riktig vare/tjeneste som fritekstartikkel eller fra kataloger som dekker behovet</a:t>
            </a:r>
          </a:p>
          <a:p>
            <a:pPr lvl="1"/>
            <a:r>
              <a:rPr lang="nb-NO" sz="1200" dirty="0"/>
              <a:t>Velg riktig leveringsadresse</a:t>
            </a:r>
          </a:p>
          <a:p>
            <a:pPr lvl="1"/>
            <a:r>
              <a:rPr lang="nb-NO" sz="1200" dirty="0"/>
              <a:t>Velg riktig koststed og delprosjekt</a:t>
            </a:r>
          </a:p>
          <a:p>
            <a:pPr lvl="1"/>
            <a:r>
              <a:rPr lang="nb-NO" sz="1200" dirty="0"/>
              <a:t>Foreslå konto og mva-koder</a:t>
            </a:r>
          </a:p>
          <a:p>
            <a:pPr lvl="1"/>
            <a:r>
              <a:rPr lang="nb-NO" sz="1200" dirty="0"/>
              <a:t>Registrer hovedbokstekst</a:t>
            </a:r>
          </a:p>
          <a:p>
            <a:pPr lvl="1"/>
            <a:r>
              <a:rPr lang="nb-NO" sz="1200" dirty="0"/>
              <a:t>Periodiserer kostnader ved behov</a:t>
            </a:r>
          </a:p>
          <a:p>
            <a:pPr lvl="1"/>
            <a:r>
              <a:rPr lang="nb-NO" sz="1200" dirty="0"/>
              <a:t>Ved kjøp av anleggsmidler må det registreres anleggsinformasjon</a:t>
            </a:r>
          </a:p>
          <a:p>
            <a:pPr lvl="1"/>
            <a:r>
              <a:rPr lang="nb-NO" sz="1200" dirty="0">
                <a:cs typeface="Calibri"/>
              </a:rPr>
              <a:t>Legge til viktig dokumentasjon, som et vedlegg, knyttet til innkjøpet</a:t>
            </a:r>
          </a:p>
          <a:p>
            <a:pPr lvl="1"/>
            <a:r>
              <a:rPr lang="nb-NO" sz="1200" dirty="0">
                <a:cs typeface="Calibri"/>
              </a:rPr>
              <a:t>Registrer eventuelt en annen person som kan registrere varemottak i løsningen</a:t>
            </a:r>
          </a:p>
          <a:p>
            <a:endParaRPr lang="nb-NO" sz="1400" dirty="0"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7043091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aKSskg._JnrYXWlrABv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tnu_nn_16_9" id="{4910B9C1-D771-E44C-AB7F-12A684D03AF5}" vid="{81D91624-0E0F-3E4C-94FB-A3058ED54ED7}"/>
    </a:ext>
  </a:extLst>
</a:theme>
</file>

<file path=ppt/theme/theme2.xml><?xml version="1.0" encoding="utf-8"?>
<a:theme xmlns:a="http://schemas.openxmlformats.org/drawingml/2006/main" name="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FFAB40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4E7B34652ADC749A2AB15E997B3C6EA" ma:contentTypeVersion="8" ma:contentTypeDescription="Create a new document." ma:contentTypeScope="" ma:versionID="dc80cfa376517e07bee57ae7cd31c794">
  <xsd:schema xmlns:xsd="http://www.w3.org/2001/XMLSchema" xmlns:xs="http://www.w3.org/2001/XMLSchema" xmlns:p="http://schemas.microsoft.com/office/2006/metadata/properties" xmlns:ns2="8f21d330-e887-4cc7-9942-696b08255880" xmlns:ns3="f4a8ecaf-ab75-4c18-86dd-1d5ebc4f4b49" targetNamespace="http://schemas.microsoft.com/office/2006/metadata/properties" ma:root="true" ma:fieldsID="6fa885c36135a83845f92c257960f7f2" ns2:_="" ns3:_="">
    <xsd:import namespace="8f21d330-e887-4cc7-9942-696b08255880"/>
    <xsd:import namespace="f4a8ecaf-ab75-4c18-86dd-1d5ebc4f4b49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f21d330-e887-4cc7-9942-696b0825588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4a8ecaf-ab75-4c18-86dd-1d5ebc4f4b4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83D9C836-F99A-4B96-81F2-35EA25B4E15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8AA89F5-3DF8-4614-BE76-9015E5900F1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f21d330-e887-4cc7-9942-696b08255880"/>
    <ds:schemaRef ds:uri="f4a8ecaf-ab75-4c18-86dd-1d5ebc4f4b4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083F270-11ED-4F08-A7D9-D3F9906BA1B0}">
  <ds:schemaRefs>
    <ds:schemaRef ds:uri="http://purl.org/dc/elements/1.1/"/>
    <ds:schemaRef ds:uri="http://www.w3.org/XML/1998/namespace"/>
    <ds:schemaRef ds:uri="http://purl.org/dc/terms/"/>
    <ds:schemaRef ds:uri="8f21d330-e887-4cc7-9942-696b08255880"/>
    <ds:schemaRef ds:uri="http://schemas.microsoft.com/office/2006/metadata/properties"/>
    <ds:schemaRef ds:uri="f4a8ecaf-ab75-4c18-86dd-1d5ebc4f4b4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tnu_nn_16_9</Template>
  <TotalTime>6834</TotalTime>
  <Words>1241</Words>
  <Application>Microsoft Office PowerPoint</Application>
  <PresentationFormat>On-screen Show (16:9)</PresentationFormat>
  <Paragraphs>208</Paragraphs>
  <Slides>15</Slides>
  <Notes>13</Notes>
  <HiddenSlides>1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4" baseType="lpstr">
      <vt:lpstr>Arial</vt:lpstr>
      <vt:lpstr>Calibri</vt:lpstr>
      <vt:lpstr>Courier New</vt:lpstr>
      <vt:lpstr>Open Sans</vt:lpstr>
      <vt:lpstr>Poppins</vt:lpstr>
      <vt:lpstr>Office-tema</vt:lpstr>
      <vt:lpstr>Simple Light</vt:lpstr>
      <vt:lpstr>1_Office-tema</vt:lpstr>
      <vt:lpstr>think-cell Slide</vt:lpstr>
      <vt:lpstr>Innmelding av roller - Fagrekvirent</vt:lpstr>
      <vt:lpstr>Agenda</vt:lpstr>
      <vt:lpstr>Spørsmål og svar - menti</vt:lpstr>
      <vt:lpstr>Agenda</vt:lpstr>
      <vt:lpstr>PowerPoint Presentation</vt:lpstr>
      <vt:lpstr>PowerPoint Presentation</vt:lpstr>
      <vt:lpstr>Fagrekvirent – samhandling med andre</vt:lpstr>
      <vt:lpstr>Behovsinnmelding via Fagrevirent</vt:lpstr>
      <vt:lpstr>Mer om å opprette innkjøpsforespørsel</vt:lpstr>
      <vt:lpstr>Hovedendringer fra dagens rolle</vt:lpstr>
      <vt:lpstr>Agenda</vt:lpstr>
      <vt:lpstr>Tips til veien videre – hvordan jobbe med innplassering </vt:lpstr>
      <vt:lpstr>Agenda</vt:lpstr>
      <vt:lpstr>Spørsmål og svar - menti</vt:lpstr>
      <vt:lpstr>Agenda</vt:lpstr>
    </vt:vector>
  </TitlesOfParts>
  <Company>NTNU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Åpningsside</dc:title>
  <dc:creator>Gry-Lene Johansen</dc:creator>
  <cp:lastModifiedBy>Horvei, Christina</cp:lastModifiedBy>
  <cp:revision>30</cp:revision>
  <cp:lastPrinted>2022-04-05T07:41:04Z</cp:lastPrinted>
  <dcterms:created xsi:type="dcterms:W3CDTF">2022-03-25T07:38:29Z</dcterms:created>
  <dcterms:modified xsi:type="dcterms:W3CDTF">2022-05-12T08:07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4E7B34652ADC749A2AB15E997B3C6EA</vt:lpwstr>
  </property>
  <property fmtid="{D5CDD505-2E9C-101B-9397-08002B2CF9AE}" pid="3" name="MSIP_Label_ea60d57e-af5b-4752-ac57-3e4f28ca11dc_Enabled">
    <vt:lpwstr>true</vt:lpwstr>
  </property>
  <property fmtid="{D5CDD505-2E9C-101B-9397-08002B2CF9AE}" pid="4" name="MSIP_Label_ea60d57e-af5b-4752-ac57-3e4f28ca11dc_SetDate">
    <vt:lpwstr>2022-04-27T09:36:24Z</vt:lpwstr>
  </property>
  <property fmtid="{D5CDD505-2E9C-101B-9397-08002B2CF9AE}" pid="5" name="MSIP_Label_ea60d57e-af5b-4752-ac57-3e4f28ca11dc_Method">
    <vt:lpwstr>Standard</vt:lpwstr>
  </property>
  <property fmtid="{D5CDD505-2E9C-101B-9397-08002B2CF9AE}" pid="6" name="MSIP_Label_ea60d57e-af5b-4752-ac57-3e4f28ca11dc_Name">
    <vt:lpwstr>ea60d57e-af5b-4752-ac57-3e4f28ca11dc</vt:lpwstr>
  </property>
  <property fmtid="{D5CDD505-2E9C-101B-9397-08002B2CF9AE}" pid="7" name="MSIP_Label_ea60d57e-af5b-4752-ac57-3e4f28ca11dc_SiteId">
    <vt:lpwstr>36da45f1-dd2c-4d1f-af13-5abe46b99921</vt:lpwstr>
  </property>
  <property fmtid="{D5CDD505-2E9C-101B-9397-08002B2CF9AE}" pid="8" name="MSIP_Label_ea60d57e-af5b-4752-ac57-3e4f28ca11dc_ActionId">
    <vt:lpwstr>07bf267c-82bd-486a-8860-ea7de6759f39</vt:lpwstr>
  </property>
  <property fmtid="{D5CDD505-2E9C-101B-9397-08002B2CF9AE}" pid="9" name="MSIP_Label_ea60d57e-af5b-4752-ac57-3e4f28ca11dc_ContentBits">
    <vt:lpwstr>0</vt:lpwstr>
  </property>
</Properties>
</file>